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239" r:id="rId4"/>
  </p:sldMasterIdLst>
  <p:notesMasterIdLst>
    <p:notesMasterId r:id="rId24"/>
  </p:notesMasterIdLst>
  <p:handoutMasterIdLst>
    <p:handoutMasterId r:id="rId25"/>
  </p:handoutMasterIdLst>
  <p:sldIdLst>
    <p:sldId id="2144867173" r:id="rId5"/>
    <p:sldId id="2147347711" r:id="rId6"/>
    <p:sldId id="2147472361" r:id="rId7"/>
    <p:sldId id="2147472347" r:id="rId8"/>
    <p:sldId id="2147472349" r:id="rId9"/>
    <p:sldId id="2147472364" r:id="rId10"/>
    <p:sldId id="2147472334" r:id="rId11"/>
    <p:sldId id="2147472356" r:id="rId12"/>
    <p:sldId id="2147472365" r:id="rId13"/>
    <p:sldId id="2147347807" r:id="rId14"/>
    <p:sldId id="2147472355" r:id="rId15"/>
    <p:sldId id="2147472366" r:id="rId16"/>
    <p:sldId id="2147472370" r:id="rId17"/>
    <p:sldId id="2147472357" r:id="rId18"/>
    <p:sldId id="2147472367" r:id="rId19"/>
    <p:sldId id="2147472371" r:id="rId20"/>
    <p:sldId id="2147472369" r:id="rId21"/>
    <p:sldId id="2147472368" r:id="rId22"/>
    <p:sldId id="2147472372" r:id="rId23"/>
  </p:sldIdLst>
  <p:sldSz cx="12192000" cy="6858000"/>
  <p:notesSz cx="7315200" cy="96012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1E8B"/>
    <a:srgbClr val="717477"/>
    <a:srgbClr val="046A38"/>
    <a:srgbClr val="62B5E5"/>
    <a:srgbClr val="86BC25"/>
    <a:srgbClr val="92D400"/>
    <a:srgbClr val="E7E9EB"/>
    <a:srgbClr val="00B4F1"/>
    <a:srgbClr val="0570F6"/>
    <a:srgbClr val="26890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4BC405-A35B-40E0-8538-C61466B0A165}" v="249" dt="2024-04-09T12:30:50.9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95417" autoAdjust="0"/>
  </p:normalViewPr>
  <p:slideViewPr>
    <p:cSldViewPr snapToGrid="0" showGuides="1">
      <p:cViewPr varScale="1">
        <p:scale>
          <a:sx n="104" d="100"/>
          <a:sy n="104" d="100"/>
        </p:scale>
        <p:origin x="138" y="12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91" d="100"/>
          <a:sy n="91" d="100"/>
        </p:scale>
        <p:origin x="1680" y="7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hyperlink" Target="https://matplotlib.org/stable/api/_as_gen/matplotlib.pyplot.hist.html" TargetMode="External"/><Relationship Id="rId2" Type="http://schemas.openxmlformats.org/officeDocument/2006/relationships/hyperlink" Target="https://pandas.pydata.org/pandas-docs/stable/reference/api/pandas.DataFrame.groupby.html" TargetMode="External"/><Relationship Id="rId1" Type="http://schemas.openxmlformats.org/officeDocument/2006/relationships/hyperlink" Target="https://numpy.org/devdocs/user/quickstart.html" TargetMode="External"/><Relationship Id="rId6" Type="http://schemas.openxmlformats.org/officeDocument/2006/relationships/hyperlink" Target="https://docs.scipy.org/doc/scipy/tutorial/index.html#user-guide" TargetMode="External"/><Relationship Id="rId5" Type="http://schemas.openxmlformats.org/officeDocument/2006/relationships/hyperlink" Target="https://scikit-learn.org/stable/getting_started.html" TargetMode="External"/><Relationship Id="rId4" Type="http://schemas.openxmlformats.org/officeDocument/2006/relationships/hyperlink" Target="https://seaborn.pydata.org/api.html#function-interface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scipy.org/doc/scipy/tutorial/index.html#user-guide" TargetMode="External"/><Relationship Id="rId2" Type="http://schemas.openxmlformats.org/officeDocument/2006/relationships/hyperlink" Target="https://pandas.pydata.org/pandas-docs/stable/reference/api/pandas.DataFrame.groupby.html" TargetMode="External"/><Relationship Id="rId1" Type="http://schemas.openxmlformats.org/officeDocument/2006/relationships/hyperlink" Target="https://numpy.org/devdocs/user/quickstart.html" TargetMode="External"/><Relationship Id="rId6" Type="http://schemas.openxmlformats.org/officeDocument/2006/relationships/hyperlink" Target="https://scikit-learn.org/stable/getting_started.html" TargetMode="External"/><Relationship Id="rId5" Type="http://schemas.openxmlformats.org/officeDocument/2006/relationships/hyperlink" Target="https://seaborn.pydata.org/api.html#function-interface" TargetMode="External"/><Relationship Id="rId4" Type="http://schemas.openxmlformats.org/officeDocument/2006/relationships/hyperlink" Target="https://matplotlib.org/stable/api/_as_gen/matplotlib.pyplot.hist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5CF092-7506-49F5-BF9A-59550C9BE30C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pt-BR"/>
        </a:p>
      </dgm:t>
    </dgm:pt>
    <dgm:pt modelId="{B4A3BC29-7329-4742-8C3A-069A94CD6CC0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Data Collection:</a:t>
          </a:r>
          <a:r>
            <a:rPr lang="en-US" b="0" i="0"/>
            <a:t> Gather the dataset you want to explore.</a:t>
          </a:r>
        </a:p>
      </dgm:t>
    </dgm:pt>
    <dgm:pt modelId="{92079BF7-55F7-4E12-9BEA-61C93334692C}" type="parTrans" cxnId="{AC37A66D-7D58-4659-95CC-41922534F32E}">
      <dgm:prSet/>
      <dgm:spPr/>
      <dgm:t>
        <a:bodyPr/>
        <a:lstStyle/>
        <a:p>
          <a:endParaRPr lang="pt-BR"/>
        </a:p>
      </dgm:t>
    </dgm:pt>
    <dgm:pt modelId="{6350FEC4-CFCA-40E1-9B1C-70C5E4789A7F}" type="sibTrans" cxnId="{AC37A66D-7D58-4659-95CC-41922534F32E}">
      <dgm:prSet/>
      <dgm:spPr/>
      <dgm:t>
        <a:bodyPr/>
        <a:lstStyle/>
        <a:p>
          <a:endParaRPr lang="pt-BR"/>
        </a:p>
      </dgm:t>
    </dgm:pt>
    <dgm:pt modelId="{78AB54E3-0D34-4223-A71D-F24B53DC8015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Data Cleaning:</a:t>
          </a:r>
          <a:r>
            <a:rPr lang="en-US" b="0" i="0"/>
            <a:t> Check for and fix any mistakes or missing values in the data.</a:t>
          </a:r>
        </a:p>
      </dgm:t>
    </dgm:pt>
    <dgm:pt modelId="{1A0C6781-700B-4684-BB15-6CC16458E322}" type="parTrans" cxnId="{B300E22A-A337-49A1-8FC8-D4C7FC162A62}">
      <dgm:prSet/>
      <dgm:spPr/>
      <dgm:t>
        <a:bodyPr/>
        <a:lstStyle/>
        <a:p>
          <a:endParaRPr lang="pt-BR"/>
        </a:p>
      </dgm:t>
    </dgm:pt>
    <dgm:pt modelId="{6F3BC51C-127F-4839-B0FB-6B502079FDA1}" type="sibTrans" cxnId="{B300E22A-A337-49A1-8FC8-D4C7FC162A62}">
      <dgm:prSet/>
      <dgm:spPr/>
      <dgm:t>
        <a:bodyPr/>
        <a:lstStyle/>
        <a:p>
          <a:endParaRPr lang="pt-BR"/>
        </a:p>
      </dgm:t>
    </dgm:pt>
    <dgm:pt modelId="{6DE92116-1213-43E6-8E11-B190BBFAF86C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Data Exploration:</a:t>
          </a:r>
          <a:r>
            <a:rPr lang="en-US" b="0" i="0"/>
            <a:t> Get a basic understanding of your data through graphs and summary statistics.</a:t>
          </a:r>
        </a:p>
      </dgm:t>
    </dgm:pt>
    <dgm:pt modelId="{5149ACA5-7CA6-4B6D-BFBA-FC6208C3D3C3}" type="parTrans" cxnId="{91AB5510-44B3-4B24-998B-077606EDEC23}">
      <dgm:prSet/>
      <dgm:spPr/>
      <dgm:t>
        <a:bodyPr/>
        <a:lstStyle/>
        <a:p>
          <a:endParaRPr lang="pt-BR"/>
        </a:p>
      </dgm:t>
    </dgm:pt>
    <dgm:pt modelId="{9570FB54-8D03-4DD6-9D8F-05B9D0D9445B}" type="sibTrans" cxnId="{91AB5510-44B3-4B24-998B-077606EDEC23}">
      <dgm:prSet/>
      <dgm:spPr/>
      <dgm:t>
        <a:bodyPr/>
        <a:lstStyle/>
        <a:p>
          <a:endParaRPr lang="pt-BR"/>
        </a:p>
      </dgm:t>
    </dgm:pt>
    <dgm:pt modelId="{C2DA2F20-C188-4663-89A7-531E5D5BC88D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Feature Engineering:</a:t>
          </a:r>
          <a:r>
            <a:rPr lang="en-US" b="0" i="0"/>
            <a:t> Create new features or transform existing ones if needed.</a:t>
          </a:r>
        </a:p>
      </dgm:t>
    </dgm:pt>
    <dgm:pt modelId="{33DF1CA2-14DB-460C-BBFB-52AF98B300CE}" type="parTrans" cxnId="{0E90BA48-96BC-47BF-B98C-DFA34EB78A46}">
      <dgm:prSet/>
      <dgm:spPr/>
      <dgm:t>
        <a:bodyPr/>
        <a:lstStyle/>
        <a:p>
          <a:endParaRPr lang="pt-BR"/>
        </a:p>
      </dgm:t>
    </dgm:pt>
    <dgm:pt modelId="{7C2F3925-EE26-4A8E-895B-39BDA4A7D0E7}" type="sibTrans" cxnId="{0E90BA48-96BC-47BF-B98C-DFA34EB78A46}">
      <dgm:prSet/>
      <dgm:spPr/>
      <dgm:t>
        <a:bodyPr/>
        <a:lstStyle/>
        <a:p>
          <a:endParaRPr lang="pt-BR"/>
        </a:p>
      </dgm:t>
    </dgm:pt>
    <dgm:pt modelId="{F23663DB-0B7E-4578-A11F-480BB9B661FA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Univariate Analysis:</a:t>
          </a:r>
          <a:r>
            <a:rPr lang="en-US" b="0" i="0"/>
            <a:t> Look at individual variables one by one.</a:t>
          </a:r>
        </a:p>
      </dgm:t>
    </dgm:pt>
    <dgm:pt modelId="{7450C15F-2266-4472-8E05-70B8B3B913E3}" type="parTrans" cxnId="{13E570D6-1E6D-4C11-AE1F-9C748597C572}">
      <dgm:prSet/>
      <dgm:spPr/>
      <dgm:t>
        <a:bodyPr/>
        <a:lstStyle/>
        <a:p>
          <a:endParaRPr lang="pt-BR"/>
        </a:p>
      </dgm:t>
    </dgm:pt>
    <dgm:pt modelId="{BD6EC441-4ED0-4A7F-9203-6EE8EEBDF737}" type="sibTrans" cxnId="{13E570D6-1E6D-4C11-AE1F-9C748597C572}">
      <dgm:prSet/>
      <dgm:spPr/>
      <dgm:t>
        <a:bodyPr/>
        <a:lstStyle/>
        <a:p>
          <a:endParaRPr lang="pt-BR"/>
        </a:p>
      </dgm:t>
    </dgm:pt>
    <dgm:pt modelId="{05D41043-D87E-43C3-99F8-9573E7DEEA71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Bivariate Analysis:</a:t>
          </a:r>
          <a:r>
            <a:rPr lang="en-US" b="0" i="0"/>
            <a:t> Explore relationships between pairs of variables.</a:t>
          </a:r>
        </a:p>
      </dgm:t>
    </dgm:pt>
    <dgm:pt modelId="{1301D9A9-6F4C-4C8D-847E-C8A49B763149}" type="parTrans" cxnId="{AD1458AC-F92D-4288-833D-DE852E371A4C}">
      <dgm:prSet/>
      <dgm:spPr/>
      <dgm:t>
        <a:bodyPr/>
        <a:lstStyle/>
        <a:p>
          <a:endParaRPr lang="pt-BR"/>
        </a:p>
      </dgm:t>
    </dgm:pt>
    <dgm:pt modelId="{837DFAD6-DCF3-4B5B-A344-F005476D4B5A}" type="sibTrans" cxnId="{AD1458AC-F92D-4288-833D-DE852E371A4C}">
      <dgm:prSet/>
      <dgm:spPr/>
      <dgm:t>
        <a:bodyPr/>
        <a:lstStyle/>
        <a:p>
          <a:endParaRPr lang="pt-BR"/>
        </a:p>
      </dgm:t>
    </dgm:pt>
    <dgm:pt modelId="{56C2AA6D-A201-4A6F-8601-22281BDB0A3A}">
      <dgm:prSet/>
      <dgm:spPr/>
      <dgm:t>
        <a:bodyPr/>
        <a:lstStyle/>
        <a:p>
          <a:pPr>
            <a:buFont typeface="+mj-lt"/>
            <a:buAutoNum type="arabicPeriod"/>
          </a:pPr>
          <a:r>
            <a:rPr lang="pt-BR" b="1" i="0"/>
            <a:t>Multivariate Analysis:</a:t>
          </a:r>
          <a:r>
            <a:rPr lang="pt-BR" b="0" i="0"/>
            <a:t> Examine interactions between multiple variables.</a:t>
          </a:r>
        </a:p>
      </dgm:t>
    </dgm:pt>
    <dgm:pt modelId="{DE67A6CF-0001-4397-B17E-54C844A9E10C}" type="parTrans" cxnId="{B3740528-42F9-4C3C-A1C4-E12D095D5787}">
      <dgm:prSet/>
      <dgm:spPr/>
      <dgm:t>
        <a:bodyPr/>
        <a:lstStyle/>
        <a:p>
          <a:endParaRPr lang="pt-BR"/>
        </a:p>
      </dgm:t>
    </dgm:pt>
    <dgm:pt modelId="{B8478BB0-F111-4E14-AD7C-49B083705ECA}" type="sibTrans" cxnId="{B3740528-42F9-4C3C-A1C4-E12D095D5787}">
      <dgm:prSet/>
      <dgm:spPr/>
      <dgm:t>
        <a:bodyPr/>
        <a:lstStyle/>
        <a:p>
          <a:endParaRPr lang="pt-BR"/>
        </a:p>
      </dgm:t>
    </dgm:pt>
    <dgm:pt modelId="{383A181E-ECE2-4FD7-9296-FECA01E59260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Outlier Detection:</a:t>
          </a:r>
          <a:r>
            <a:rPr lang="en-US" b="0" i="0"/>
            <a:t> Identify and handle any unusual data points that could skew your analysis.</a:t>
          </a:r>
        </a:p>
      </dgm:t>
    </dgm:pt>
    <dgm:pt modelId="{E1F4B64C-ED1F-451A-865A-2342996469A8}" type="parTrans" cxnId="{669826D1-99B1-49F9-9424-A505338E627C}">
      <dgm:prSet/>
      <dgm:spPr/>
      <dgm:t>
        <a:bodyPr/>
        <a:lstStyle/>
        <a:p>
          <a:endParaRPr lang="pt-BR"/>
        </a:p>
      </dgm:t>
    </dgm:pt>
    <dgm:pt modelId="{B99DE908-CED1-45C7-832F-D74075512FAF}" type="sibTrans" cxnId="{669826D1-99B1-49F9-9424-A505338E627C}">
      <dgm:prSet/>
      <dgm:spPr/>
      <dgm:t>
        <a:bodyPr/>
        <a:lstStyle/>
        <a:p>
          <a:endParaRPr lang="pt-BR"/>
        </a:p>
      </dgm:t>
    </dgm:pt>
    <dgm:pt modelId="{FB20F5B2-65EC-429C-9CEA-FFA6288C3CEE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Data Transformation:</a:t>
          </a:r>
          <a:r>
            <a:rPr lang="en-US" b="0" i="0"/>
            <a:t> Prepare the data for modeling by scaling or normalizing it if necessary.</a:t>
          </a:r>
        </a:p>
      </dgm:t>
    </dgm:pt>
    <dgm:pt modelId="{9CB7B095-A166-4AF2-8FCC-029A1467A546}" type="parTrans" cxnId="{D99D4E7E-09E8-4011-BAA6-455B861CD7D5}">
      <dgm:prSet/>
      <dgm:spPr/>
      <dgm:t>
        <a:bodyPr/>
        <a:lstStyle/>
        <a:p>
          <a:endParaRPr lang="pt-BR"/>
        </a:p>
      </dgm:t>
    </dgm:pt>
    <dgm:pt modelId="{E5FA48EA-C5F6-4AFB-8669-C5EAB79D5EB5}" type="sibTrans" cxnId="{D99D4E7E-09E8-4011-BAA6-455B861CD7D5}">
      <dgm:prSet/>
      <dgm:spPr/>
      <dgm:t>
        <a:bodyPr/>
        <a:lstStyle/>
        <a:p>
          <a:endParaRPr lang="pt-BR"/>
        </a:p>
      </dgm:t>
    </dgm:pt>
    <dgm:pt modelId="{4ADF5274-0223-44FE-93EE-68A7F0FC11D4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 i="0"/>
            <a:t>Summary and Insights:</a:t>
          </a:r>
          <a:r>
            <a:rPr lang="en-US" b="0" i="0"/>
            <a:t> Summarize your findings and insights from the EDA process.</a:t>
          </a:r>
        </a:p>
      </dgm:t>
    </dgm:pt>
    <dgm:pt modelId="{C1E9912B-BE89-40B5-BC76-57D73668B34B}" type="parTrans" cxnId="{D87C5FAE-554F-42BE-A4C2-07E7EBF723ED}">
      <dgm:prSet/>
      <dgm:spPr/>
      <dgm:t>
        <a:bodyPr/>
        <a:lstStyle/>
        <a:p>
          <a:endParaRPr lang="pt-BR"/>
        </a:p>
      </dgm:t>
    </dgm:pt>
    <dgm:pt modelId="{37A5D56C-E82B-45E3-BD8B-5A25E966623E}" type="sibTrans" cxnId="{D87C5FAE-554F-42BE-A4C2-07E7EBF723ED}">
      <dgm:prSet/>
      <dgm:spPr/>
      <dgm:t>
        <a:bodyPr/>
        <a:lstStyle/>
        <a:p>
          <a:endParaRPr lang="pt-BR"/>
        </a:p>
      </dgm:t>
    </dgm:pt>
    <dgm:pt modelId="{2D37AB9B-180C-439B-B6FD-2F32D14F075D}" type="pres">
      <dgm:prSet presAssocID="{4F5CF092-7506-49F5-BF9A-59550C9BE30C}" presName="diagram" presStyleCnt="0">
        <dgm:presLayoutVars>
          <dgm:dir/>
          <dgm:resizeHandles val="exact"/>
        </dgm:presLayoutVars>
      </dgm:prSet>
      <dgm:spPr/>
    </dgm:pt>
    <dgm:pt modelId="{2F9B9347-7CF8-42C5-AE13-C83E0F66FCE5}" type="pres">
      <dgm:prSet presAssocID="{B4A3BC29-7329-4742-8C3A-069A94CD6CC0}" presName="node" presStyleLbl="node1" presStyleIdx="0" presStyleCnt="10">
        <dgm:presLayoutVars>
          <dgm:bulletEnabled val="1"/>
        </dgm:presLayoutVars>
      </dgm:prSet>
      <dgm:spPr/>
    </dgm:pt>
    <dgm:pt modelId="{B3D17E32-CF36-4B98-ABB4-1872D334E438}" type="pres">
      <dgm:prSet presAssocID="{6350FEC4-CFCA-40E1-9B1C-70C5E4789A7F}" presName="sibTrans" presStyleCnt="0"/>
      <dgm:spPr/>
    </dgm:pt>
    <dgm:pt modelId="{67143BF6-D01F-4F36-A988-3D6046951794}" type="pres">
      <dgm:prSet presAssocID="{78AB54E3-0D34-4223-A71D-F24B53DC8015}" presName="node" presStyleLbl="node1" presStyleIdx="1" presStyleCnt="10">
        <dgm:presLayoutVars>
          <dgm:bulletEnabled val="1"/>
        </dgm:presLayoutVars>
      </dgm:prSet>
      <dgm:spPr/>
    </dgm:pt>
    <dgm:pt modelId="{9284A89E-9075-40B4-B614-A0265D5404B5}" type="pres">
      <dgm:prSet presAssocID="{6F3BC51C-127F-4839-B0FB-6B502079FDA1}" presName="sibTrans" presStyleCnt="0"/>
      <dgm:spPr/>
    </dgm:pt>
    <dgm:pt modelId="{73DCDB6E-A29B-42FB-B909-262155A0CBDF}" type="pres">
      <dgm:prSet presAssocID="{6DE92116-1213-43E6-8E11-B190BBFAF86C}" presName="node" presStyleLbl="node1" presStyleIdx="2" presStyleCnt="10">
        <dgm:presLayoutVars>
          <dgm:bulletEnabled val="1"/>
        </dgm:presLayoutVars>
      </dgm:prSet>
      <dgm:spPr/>
    </dgm:pt>
    <dgm:pt modelId="{23F4529D-CC46-4F88-9F61-B5D4CCCCE764}" type="pres">
      <dgm:prSet presAssocID="{9570FB54-8D03-4DD6-9D8F-05B9D0D9445B}" presName="sibTrans" presStyleCnt="0"/>
      <dgm:spPr/>
    </dgm:pt>
    <dgm:pt modelId="{59EE0CDD-03A4-49C4-ADA1-C666B47BF16A}" type="pres">
      <dgm:prSet presAssocID="{C2DA2F20-C188-4663-89A7-531E5D5BC88D}" presName="node" presStyleLbl="node1" presStyleIdx="3" presStyleCnt="10">
        <dgm:presLayoutVars>
          <dgm:bulletEnabled val="1"/>
        </dgm:presLayoutVars>
      </dgm:prSet>
      <dgm:spPr/>
    </dgm:pt>
    <dgm:pt modelId="{930C18F4-E197-440F-804A-94C3B294CE20}" type="pres">
      <dgm:prSet presAssocID="{7C2F3925-EE26-4A8E-895B-39BDA4A7D0E7}" presName="sibTrans" presStyleCnt="0"/>
      <dgm:spPr/>
    </dgm:pt>
    <dgm:pt modelId="{E7865D7E-3AF1-4701-94B0-E44491160687}" type="pres">
      <dgm:prSet presAssocID="{F23663DB-0B7E-4578-A11F-480BB9B661FA}" presName="node" presStyleLbl="node1" presStyleIdx="4" presStyleCnt="10">
        <dgm:presLayoutVars>
          <dgm:bulletEnabled val="1"/>
        </dgm:presLayoutVars>
      </dgm:prSet>
      <dgm:spPr/>
    </dgm:pt>
    <dgm:pt modelId="{236E9057-5E92-44E0-9150-9670B5253A7D}" type="pres">
      <dgm:prSet presAssocID="{BD6EC441-4ED0-4A7F-9203-6EE8EEBDF737}" presName="sibTrans" presStyleCnt="0"/>
      <dgm:spPr/>
    </dgm:pt>
    <dgm:pt modelId="{0DC348BA-1D3C-429D-ACAA-E38869445F24}" type="pres">
      <dgm:prSet presAssocID="{05D41043-D87E-43C3-99F8-9573E7DEEA71}" presName="node" presStyleLbl="node1" presStyleIdx="5" presStyleCnt="10">
        <dgm:presLayoutVars>
          <dgm:bulletEnabled val="1"/>
        </dgm:presLayoutVars>
      </dgm:prSet>
      <dgm:spPr/>
    </dgm:pt>
    <dgm:pt modelId="{2F50EF83-0A2E-4743-A7E6-CC658A3BA337}" type="pres">
      <dgm:prSet presAssocID="{837DFAD6-DCF3-4B5B-A344-F005476D4B5A}" presName="sibTrans" presStyleCnt="0"/>
      <dgm:spPr/>
    </dgm:pt>
    <dgm:pt modelId="{FD2BD104-DFA8-4249-9DD3-D41AAB46DF58}" type="pres">
      <dgm:prSet presAssocID="{56C2AA6D-A201-4A6F-8601-22281BDB0A3A}" presName="node" presStyleLbl="node1" presStyleIdx="6" presStyleCnt="10">
        <dgm:presLayoutVars>
          <dgm:bulletEnabled val="1"/>
        </dgm:presLayoutVars>
      </dgm:prSet>
      <dgm:spPr/>
    </dgm:pt>
    <dgm:pt modelId="{15C0B089-3117-4F4C-AA75-4A42E6CCBB9C}" type="pres">
      <dgm:prSet presAssocID="{B8478BB0-F111-4E14-AD7C-49B083705ECA}" presName="sibTrans" presStyleCnt="0"/>
      <dgm:spPr/>
    </dgm:pt>
    <dgm:pt modelId="{D75A1904-1FEC-4D78-A08D-3FD9B4680CB3}" type="pres">
      <dgm:prSet presAssocID="{383A181E-ECE2-4FD7-9296-FECA01E59260}" presName="node" presStyleLbl="node1" presStyleIdx="7" presStyleCnt="10">
        <dgm:presLayoutVars>
          <dgm:bulletEnabled val="1"/>
        </dgm:presLayoutVars>
      </dgm:prSet>
      <dgm:spPr/>
    </dgm:pt>
    <dgm:pt modelId="{E63A7090-F9DF-427F-BFE3-83B0DF93E1CC}" type="pres">
      <dgm:prSet presAssocID="{B99DE908-CED1-45C7-832F-D74075512FAF}" presName="sibTrans" presStyleCnt="0"/>
      <dgm:spPr/>
    </dgm:pt>
    <dgm:pt modelId="{12FFD202-DCF2-423B-A505-D86F09EF8D95}" type="pres">
      <dgm:prSet presAssocID="{FB20F5B2-65EC-429C-9CEA-FFA6288C3CEE}" presName="node" presStyleLbl="node1" presStyleIdx="8" presStyleCnt="10">
        <dgm:presLayoutVars>
          <dgm:bulletEnabled val="1"/>
        </dgm:presLayoutVars>
      </dgm:prSet>
      <dgm:spPr/>
    </dgm:pt>
    <dgm:pt modelId="{29308F7E-6981-49D4-85B6-A35E8F95BC34}" type="pres">
      <dgm:prSet presAssocID="{E5FA48EA-C5F6-4AFB-8669-C5EAB79D5EB5}" presName="sibTrans" presStyleCnt="0"/>
      <dgm:spPr/>
    </dgm:pt>
    <dgm:pt modelId="{9D9C4516-847E-447C-9F85-7A6F88DC1F70}" type="pres">
      <dgm:prSet presAssocID="{4ADF5274-0223-44FE-93EE-68A7F0FC11D4}" presName="node" presStyleLbl="node1" presStyleIdx="9" presStyleCnt="10">
        <dgm:presLayoutVars>
          <dgm:bulletEnabled val="1"/>
        </dgm:presLayoutVars>
      </dgm:prSet>
      <dgm:spPr/>
    </dgm:pt>
  </dgm:ptLst>
  <dgm:cxnLst>
    <dgm:cxn modelId="{A5E82F07-4627-49CF-AF5D-FF787D09874A}" type="presOf" srcId="{05D41043-D87E-43C3-99F8-9573E7DEEA71}" destId="{0DC348BA-1D3C-429D-ACAA-E38869445F24}" srcOrd="0" destOrd="0" presId="urn:microsoft.com/office/officeart/2005/8/layout/default"/>
    <dgm:cxn modelId="{91AB5510-44B3-4B24-998B-077606EDEC23}" srcId="{4F5CF092-7506-49F5-BF9A-59550C9BE30C}" destId="{6DE92116-1213-43E6-8E11-B190BBFAF86C}" srcOrd="2" destOrd="0" parTransId="{5149ACA5-7CA6-4B6D-BFBA-FC6208C3D3C3}" sibTransId="{9570FB54-8D03-4DD6-9D8F-05B9D0D9445B}"/>
    <dgm:cxn modelId="{12401825-A0A9-431D-89F6-33273278E8E5}" type="presOf" srcId="{56C2AA6D-A201-4A6F-8601-22281BDB0A3A}" destId="{FD2BD104-DFA8-4249-9DD3-D41AAB46DF58}" srcOrd="0" destOrd="0" presId="urn:microsoft.com/office/officeart/2005/8/layout/default"/>
    <dgm:cxn modelId="{B3740528-42F9-4C3C-A1C4-E12D095D5787}" srcId="{4F5CF092-7506-49F5-BF9A-59550C9BE30C}" destId="{56C2AA6D-A201-4A6F-8601-22281BDB0A3A}" srcOrd="6" destOrd="0" parTransId="{DE67A6CF-0001-4397-B17E-54C844A9E10C}" sibTransId="{B8478BB0-F111-4E14-AD7C-49B083705ECA}"/>
    <dgm:cxn modelId="{B300E22A-A337-49A1-8FC8-D4C7FC162A62}" srcId="{4F5CF092-7506-49F5-BF9A-59550C9BE30C}" destId="{78AB54E3-0D34-4223-A71D-F24B53DC8015}" srcOrd="1" destOrd="0" parTransId="{1A0C6781-700B-4684-BB15-6CC16458E322}" sibTransId="{6F3BC51C-127F-4839-B0FB-6B502079FDA1}"/>
    <dgm:cxn modelId="{9DAAFE3A-73B5-49E3-950F-1046C954DC94}" type="presOf" srcId="{B4A3BC29-7329-4742-8C3A-069A94CD6CC0}" destId="{2F9B9347-7CF8-42C5-AE13-C83E0F66FCE5}" srcOrd="0" destOrd="0" presId="urn:microsoft.com/office/officeart/2005/8/layout/default"/>
    <dgm:cxn modelId="{F1A5893C-67C2-4019-B60A-473F98306A97}" type="presOf" srcId="{78AB54E3-0D34-4223-A71D-F24B53DC8015}" destId="{67143BF6-D01F-4F36-A988-3D6046951794}" srcOrd="0" destOrd="0" presId="urn:microsoft.com/office/officeart/2005/8/layout/default"/>
    <dgm:cxn modelId="{51A77A5B-11C0-451B-B493-EDCC6CAF15C8}" type="presOf" srcId="{6DE92116-1213-43E6-8E11-B190BBFAF86C}" destId="{73DCDB6E-A29B-42FB-B909-262155A0CBDF}" srcOrd="0" destOrd="0" presId="urn:microsoft.com/office/officeart/2005/8/layout/default"/>
    <dgm:cxn modelId="{C027B95E-A257-4A49-84DC-FFA4C5642A87}" type="presOf" srcId="{C2DA2F20-C188-4663-89A7-531E5D5BC88D}" destId="{59EE0CDD-03A4-49C4-ADA1-C666B47BF16A}" srcOrd="0" destOrd="0" presId="urn:microsoft.com/office/officeart/2005/8/layout/default"/>
    <dgm:cxn modelId="{0E90BA48-96BC-47BF-B98C-DFA34EB78A46}" srcId="{4F5CF092-7506-49F5-BF9A-59550C9BE30C}" destId="{C2DA2F20-C188-4663-89A7-531E5D5BC88D}" srcOrd="3" destOrd="0" parTransId="{33DF1CA2-14DB-460C-BBFB-52AF98B300CE}" sibTransId="{7C2F3925-EE26-4A8E-895B-39BDA4A7D0E7}"/>
    <dgm:cxn modelId="{AC37A66D-7D58-4659-95CC-41922534F32E}" srcId="{4F5CF092-7506-49F5-BF9A-59550C9BE30C}" destId="{B4A3BC29-7329-4742-8C3A-069A94CD6CC0}" srcOrd="0" destOrd="0" parTransId="{92079BF7-55F7-4E12-9BEA-61C93334692C}" sibTransId="{6350FEC4-CFCA-40E1-9B1C-70C5E4789A7F}"/>
    <dgm:cxn modelId="{8738DC54-3DE3-4E18-85B3-4BE6E6D9A7BF}" type="presOf" srcId="{4ADF5274-0223-44FE-93EE-68A7F0FC11D4}" destId="{9D9C4516-847E-447C-9F85-7A6F88DC1F70}" srcOrd="0" destOrd="0" presId="urn:microsoft.com/office/officeart/2005/8/layout/default"/>
    <dgm:cxn modelId="{D99D4E7E-09E8-4011-BAA6-455B861CD7D5}" srcId="{4F5CF092-7506-49F5-BF9A-59550C9BE30C}" destId="{FB20F5B2-65EC-429C-9CEA-FFA6288C3CEE}" srcOrd="8" destOrd="0" parTransId="{9CB7B095-A166-4AF2-8FCC-029A1467A546}" sibTransId="{E5FA48EA-C5F6-4AFB-8669-C5EAB79D5EB5}"/>
    <dgm:cxn modelId="{B4AE5491-E468-4D67-A91D-9D2000FD571D}" type="presOf" srcId="{FB20F5B2-65EC-429C-9CEA-FFA6288C3CEE}" destId="{12FFD202-DCF2-423B-A505-D86F09EF8D95}" srcOrd="0" destOrd="0" presId="urn:microsoft.com/office/officeart/2005/8/layout/default"/>
    <dgm:cxn modelId="{EB4F1E97-99ED-4524-B0E5-8FEBD3E0BEB0}" type="presOf" srcId="{F23663DB-0B7E-4578-A11F-480BB9B661FA}" destId="{E7865D7E-3AF1-4701-94B0-E44491160687}" srcOrd="0" destOrd="0" presId="urn:microsoft.com/office/officeart/2005/8/layout/default"/>
    <dgm:cxn modelId="{0C62A3A4-A13A-4911-9ACA-0E85B1728E34}" type="presOf" srcId="{4F5CF092-7506-49F5-BF9A-59550C9BE30C}" destId="{2D37AB9B-180C-439B-B6FD-2F32D14F075D}" srcOrd="0" destOrd="0" presId="urn:microsoft.com/office/officeart/2005/8/layout/default"/>
    <dgm:cxn modelId="{AD1458AC-F92D-4288-833D-DE852E371A4C}" srcId="{4F5CF092-7506-49F5-BF9A-59550C9BE30C}" destId="{05D41043-D87E-43C3-99F8-9573E7DEEA71}" srcOrd="5" destOrd="0" parTransId="{1301D9A9-6F4C-4C8D-847E-C8A49B763149}" sibTransId="{837DFAD6-DCF3-4B5B-A344-F005476D4B5A}"/>
    <dgm:cxn modelId="{D87C5FAE-554F-42BE-A4C2-07E7EBF723ED}" srcId="{4F5CF092-7506-49F5-BF9A-59550C9BE30C}" destId="{4ADF5274-0223-44FE-93EE-68A7F0FC11D4}" srcOrd="9" destOrd="0" parTransId="{C1E9912B-BE89-40B5-BC76-57D73668B34B}" sibTransId="{37A5D56C-E82B-45E3-BD8B-5A25E966623E}"/>
    <dgm:cxn modelId="{669826D1-99B1-49F9-9424-A505338E627C}" srcId="{4F5CF092-7506-49F5-BF9A-59550C9BE30C}" destId="{383A181E-ECE2-4FD7-9296-FECA01E59260}" srcOrd="7" destOrd="0" parTransId="{E1F4B64C-ED1F-451A-865A-2342996469A8}" sibTransId="{B99DE908-CED1-45C7-832F-D74075512FAF}"/>
    <dgm:cxn modelId="{13E570D6-1E6D-4C11-AE1F-9C748597C572}" srcId="{4F5CF092-7506-49F5-BF9A-59550C9BE30C}" destId="{F23663DB-0B7E-4578-A11F-480BB9B661FA}" srcOrd="4" destOrd="0" parTransId="{7450C15F-2266-4472-8E05-70B8B3B913E3}" sibTransId="{BD6EC441-4ED0-4A7F-9203-6EE8EEBDF737}"/>
    <dgm:cxn modelId="{ABF899F2-3C07-4642-B4E5-EC15096A28E7}" type="presOf" srcId="{383A181E-ECE2-4FD7-9296-FECA01E59260}" destId="{D75A1904-1FEC-4D78-A08D-3FD9B4680CB3}" srcOrd="0" destOrd="0" presId="urn:microsoft.com/office/officeart/2005/8/layout/default"/>
    <dgm:cxn modelId="{473BB322-6E86-4820-9D46-1CE837A9DBBB}" type="presParOf" srcId="{2D37AB9B-180C-439B-B6FD-2F32D14F075D}" destId="{2F9B9347-7CF8-42C5-AE13-C83E0F66FCE5}" srcOrd="0" destOrd="0" presId="urn:microsoft.com/office/officeart/2005/8/layout/default"/>
    <dgm:cxn modelId="{80353E2B-C356-4D2C-A967-AD53631C75B4}" type="presParOf" srcId="{2D37AB9B-180C-439B-B6FD-2F32D14F075D}" destId="{B3D17E32-CF36-4B98-ABB4-1872D334E438}" srcOrd="1" destOrd="0" presId="urn:microsoft.com/office/officeart/2005/8/layout/default"/>
    <dgm:cxn modelId="{2CABDCE8-BCFA-4E24-82F0-DEFFC4FD1B9F}" type="presParOf" srcId="{2D37AB9B-180C-439B-B6FD-2F32D14F075D}" destId="{67143BF6-D01F-4F36-A988-3D6046951794}" srcOrd="2" destOrd="0" presId="urn:microsoft.com/office/officeart/2005/8/layout/default"/>
    <dgm:cxn modelId="{FF635B97-8EAD-4FF7-86B9-2345C5339274}" type="presParOf" srcId="{2D37AB9B-180C-439B-B6FD-2F32D14F075D}" destId="{9284A89E-9075-40B4-B614-A0265D5404B5}" srcOrd="3" destOrd="0" presId="urn:microsoft.com/office/officeart/2005/8/layout/default"/>
    <dgm:cxn modelId="{E6FF526D-E755-449A-A580-4EEF1086EB9F}" type="presParOf" srcId="{2D37AB9B-180C-439B-B6FD-2F32D14F075D}" destId="{73DCDB6E-A29B-42FB-B909-262155A0CBDF}" srcOrd="4" destOrd="0" presId="urn:microsoft.com/office/officeart/2005/8/layout/default"/>
    <dgm:cxn modelId="{FF889A51-389C-453B-AB98-3B95E8E6A314}" type="presParOf" srcId="{2D37AB9B-180C-439B-B6FD-2F32D14F075D}" destId="{23F4529D-CC46-4F88-9F61-B5D4CCCCE764}" srcOrd="5" destOrd="0" presId="urn:microsoft.com/office/officeart/2005/8/layout/default"/>
    <dgm:cxn modelId="{36FF4658-47DF-4C2C-B20B-3276A11D9634}" type="presParOf" srcId="{2D37AB9B-180C-439B-B6FD-2F32D14F075D}" destId="{59EE0CDD-03A4-49C4-ADA1-C666B47BF16A}" srcOrd="6" destOrd="0" presId="urn:microsoft.com/office/officeart/2005/8/layout/default"/>
    <dgm:cxn modelId="{D49FB766-DB41-4E1A-822E-1EF723872759}" type="presParOf" srcId="{2D37AB9B-180C-439B-B6FD-2F32D14F075D}" destId="{930C18F4-E197-440F-804A-94C3B294CE20}" srcOrd="7" destOrd="0" presId="urn:microsoft.com/office/officeart/2005/8/layout/default"/>
    <dgm:cxn modelId="{C72ABD14-74A6-401F-9511-0185B7588CE5}" type="presParOf" srcId="{2D37AB9B-180C-439B-B6FD-2F32D14F075D}" destId="{E7865D7E-3AF1-4701-94B0-E44491160687}" srcOrd="8" destOrd="0" presId="urn:microsoft.com/office/officeart/2005/8/layout/default"/>
    <dgm:cxn modelId="{35B5E8B2-9B59-4A85-81A2-847BA1E07731}" type="presParOf" srcId="{2D37AB9B-180C-439B-B6FD-2F32D14F075D}" destId="{236E9057-5E92-44E0-9150-9670B5253A7D}" srcOrd="9" destOrd="0" presId="urn:microsoft.com/office/officeart/2005/8/layout/default"/>
    <dgm:cxn modelId="{35D97F06-0F15-4B82-AC34-AD41CA5C0EB4}" type="presParOf" srcId="{2D37AB9B-180C-439B-B6FD-2F32D14F075D}" destId="{0DC348BA-1D3C-429D-ACAA-E38869445F24}" srcOrd="10" destOrd="0" presId="urn:microsoft.com/office/officeart/2005/8/layout/default"/>
    <dgm:cxn modelId="{2C94A843-6390-4CFE-A63F-7E9A661E7DBD}" type="presParOf" srcId="{2D37AB9B-180C-439B-B6FD-2F32D14F075D}" destId="{2F50EF83-0A2E-4743-A7E6-CC658A3BA337}" srcOrd="11" destOrd="0" presId="urn:microsoft.com/office/officeart/2005/8/layout/default"/>
    <dgm:cxn modelId="{A50E6927-3479-489B-8FFA-A221FDE509CB}" type="presParOf" srcId="{2D37AB9B-180C-439B-B6FD-2F32D14F075D}" destId="{FD2BD104-DFA8-4249-9DD3-D41AAB46DF58}" srcOrd="12" destOrd="0" presId="urn:microsoft.com/office/officeart/2005/8/layout/default"/>
    <dgm:cxn modelId="{AA39313B-05EE-4F63-82D2-0C2E45F9C10D}" type="presParOf" srcId="{2D37AB9B-180C-439B-B6FD-2F32D14F075D}" destId="{15C0B089-3117-4F4C-AA75-4A42E6CCBB9C}" srcOrd="13" destOrd="0" presId="urn:microsoft.com/office/officeart/2005/8/layout/default"/>
    <dgm:cxn modelId="{EDEA13DA-F6D3-486F-AC22-BDE4FE133499}" type="presParOf" srcId="{2D37AB9B-180C-439B-B6FD-2F32D14F075D}" destId="{D75A1904-1FEC-4D78-A08D-3FD9B4680CB3}" srcOrd="14" destOrd="0" presId="urn:microsoft.com/office/officeart/2005/8/layout/default"/>
    <dgm:cxn modelId="{4C20C96F-0F7E-4EF1-B314-92CC64C40360}" type="presParOf" srcId="{2D37AB9B-180C-439B-B6FD-2F32D14F075D}" destId="{E63A7090-F9DF-427F-BFE3-83B0DF93E1CC}" srcOrd="15" destOrd="0" presId="urn:microsoft.com/office/officeart/2005/8/layout/default"/>
    <dgm:cxn modelId="{4AAF446A-1EC5-4204-860B-CFCCB9A01823}" type="presParOf" srcId="{2D37AB9B-180C-439B-B6FD-2F32D14F075D}" destId="{12FFD202-DCF2-423B-A505-D86F09EF8D95}" srcOrd="16" destOrd="0" presId="urn:microsoft.com/office/officeart/2005/8/layout/default"/>
    <dgm:cxn modelId="{15D52BC1-D218-4E55-AC54-DFC5B9D7B4D3}" type="presParOf" srcId="{2D37AB9B-180C-439B-B6FD-2F32D14F075D}" destId="{29308F7E-6981-49D4-85B6-A35E8F95BC34}" srcOrd="17" destOrd="0" presId="urn:microsoft.com/office/officeart/2005/8/layout/default"/>
    <dgm:cxn modelId="{3D804923-D1E1-4251-B05F-AB23FEF51C3E}" type="presParOf" srcId="{2D37AB9B-180C-439B-B6FD-2F32D14F075D}" destId="{9D9C4516-847E-447C-9F85-7A6F88DC1F70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9F20FD-6A1D-4A0B-8EB5-2C28CDB8623B}" type="doc">
      <dgm:prSet loTypeId="urn:microsoft.com/office/officeart/2005/8/layout/vList6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pt-BR"/>
        </a:p>
      </dgm:t>
    </dgm:pt>
    <dgm:pt modelId="{A70AEB9D-57BE-4B00-A1B0-70E9F98ECD99}">
      <dgm:prSet phldrT="[Text]" custT="1"/>
      <dgm:spPr/>
      <dgm:t>
        <a:bodyPr/>
        <a:lstStyle/>
        <a:p>
          <a:r>
            <a:rPr lang="en-US" sz="3600" noProof="0" dirty="0"/>
            <a:t>NumPy</a:t>
          </a:r>
        </a:p>
      </dgm:t>
    </dgm:pt>
    <dgm:pt modelId="{72B1BD57-E8BE-494F-BED9-FC37C1255448}" type="parTrans" cxnId="{9A47E239-2D2E-49B5-811A-3F568060750F}">
      <dgm:prSet/>
      <dgm:spPr/>
      <dgm:t>
        <a:bodyPr/>
        <a:lstStyle/>
        <a:p>
          <a:endParaRPr lang="en-US" sz="1400" noProof="0" dirty="0"/>
        </a:p>
      </dgm:t>
    </dgm:pt>
    <dgm:pt modelId="{66BB1419-578A-4B86-ADBB-F79C569C08F6}" type="sibTrans" cxnId="{9A47E239-2D2E-49B5-811A-3F568060750F}">
      <dgm:prSet/>
      <dgm:spPr/>
      <dgm:t>
        <a:bodyPr/>
        <a:lstStyle/>
        <a:p>
          <a:endParaRPr lang="en-US" sz="1400" noProof="0" dirty="0"/>
        </a:p>
      </dgm:t>
    </dgm:pt>
    <dgm:pt modelId="{382D4415-1AF7-48E6-B42C-330C9E5CE84A}">
      <dgm:prSet phldrT="[Text]" custT="1"/>
      <dgm:spPr/>
      <dgm:t>
        <a:bodyPr/>
        <a:lstStyle/>
        <a:p>
          <a:r>
            <a:rPr lang="en-US" sz="1600" noProof="0" dirty="0"/>
            <a:t>Data frames; Handling tools</a:t>
          </a:r>
        </a:p>
      </dgm:t>
    </dgm:pt>
    <dgm:pt modelId="{8D2998EC-1009-42E2-8CDF-F86914CF5454}" type="parTrans" cxnId="{2B3BF321-9AA8-4BAE-ACCD-817CD5A7B18D}">
      <dgm:prSet/>
      <dgm:spPr/>
      <dgm:t>
        <a:bodyPr/>
        <a:lstStyle/>
        <a:p>
          <a:endParaRPr lang="en-US" sz="1400" noProof="0" dirty="0"/>
        </a:p>
      </dgm:t>
    </dgm:pt>
    <dgm:pt modelId="{219D3A77-E157-4475-8942-ADD967E07DB7}" type="sibTrans" cxnId="{2B3BF321-9AA8-4BAE-ACCD-817CD5A7B18D}">
      <dgm:prSet/>
      <dgm:spPr/>
      <dgm:t>
        <a:bodyPr/>
        <a:lstStyle/>
        <a:p>
          <a:endParaRPr lang="en-US" sz="1400" noProof="0" dirty="0"/>
        </a:p>
      </dgm:t>
    </dgm:pt>
    <dgm:pt modelId="{C129B489-734D-4551-8C21-118CCB93BF60}">
      <dgm:prSet phldrT="[Text]" custT="1"/>
      <dgm:spPr/>
      <dgm:t>
        <a:bodyPr/>
        <a:lstStyle/>
        <a:p>
          <a:r>
            <a:rPr lang="en-US" sz="3600" noProof="0" dirty="0"/>
            <a:t>Matplotlib</a:t>
          </a:r>
        </a:p>
      </dgm:t>
    </dgm:pt>
    <dgm:pt modelId="{6B0FFEFD-73FE-421F-BF80-41B5C05B044D}" type="parTrans" cxnId="{6B407A37-A37C-47E5-BBFD-9491D2B8E075}">
      <dgm:prSet/>
      <dgm:spPr/>
      <dgm:t>
        <a:bodyPr/>
        <a:lstStyle/>
        <a:p>
          <a:endParaRPr lang="pt-BR" sz="1400"/>
        </a:p>
      </dgm:t>
    </dgm:pt>
    <dgm:pt modelId="{DC220B3E-06B5-436E-B5FD-B26CF7C8775D}" type="sibTrans" cxnId="{6B407A37-A37C-47E5-BBFD-9491D2B8E075}">
      <dgm:prSet/>
      <dgm:spPr/>
      <dgm:t>
        <a:bodyPr/>
        <a:lstStyle/>
        <a:p>
          <a:endParaRPr lang="pt-BR" sz="1400"/>
        </a:p>
      </dgm:t>
    </dgm:pt>
    <dgm:pt modelId="{3578EF68-63AD-49A0-B283-47E0F3F0F954}">
      <dgm:prSet phldrT="[Text]" custT="1"/>
      <dgm:spPr/>
      <dgm:t>
        <a:bodyPr/>
        <a:lstStyle/>
        <a:p>
          <a:r>
            <a:rPr lang="en-US" sz="1600" noProof="0" dirty="0"/>
            <a:t>Charts; Images</a:t>
          </a:r>
        </a:p>
      </dgm:t>
    </dgm:pt>
    <dgm:pt modelId="{591C6E22-267F-4EDA-A70A-A7BD642FE566}" type="parTrans" cxnId="{1BD9081E-6745-48BA-B7FF-B1D6FB992901}">
      <dgm:prSet/>
      <dgm:spPr/>
      <dgm:t>
        <a:bodyPr/>
        <a:lstStyle/>
        <a:p>
          <a:endParaRPr lang="pt-BR" sz="1400"/>
        </a:p>
      </dgm:t>
    </dgm:pt>
    <dgm:pt modelId="{7AA2E42B-5299-4326-9668-3E68B5448CD3}" type="sibTrans" cxnId="{1BD9081E-6745-48BA-B7FF-B1D6FB992901}">
      <dgm:prSet/>
      <dgm:spPr/>
      <dgm:t>
        <a:bodyPr/>
        <a:lstStyle/>
        <a:p>
          <a:endParaRPr lang="pt-BR" sz="1400"/>
        </a:p>
      </dgm:t>
    </dgm:pt>
    <dgm:pt modelId="{A56284AB-A466-4AE4-B4BE-DEB49FE02519}">
      <dgm:prSet phldrT="[Text]" custT="1"/>
      <dgm:spPr/>
      <dgm:t>
        <a:bodyPr/>
        <a:lstStyle/>
        <a:p>
          <a:r>
            <a:rPr lang="en-US" sz="3600" noProof="0" dirty="0"/>
            <a:t>Seaborn</a:t>
          </a:r>
        </a:p>
      </dgm:t>
    </dgm:pt>
    <dgm:pt modelId="{49CA180B-A2EA-4E08-ABC1-4D02164CAD45}" type="parTrans" cxnId="{EFF5367D-36E6-4D98-8A54-B0916DDC0A07}">
      <dgm:prSet/>
      <dgm:spPr/>
      <dgm:t>
        <a:bodyPr/>
        <a:lstStyle/>
        <a:p>
          <a:endParaRPr lang="pt-BR" sz="1400"/>
        </a:p>
      </dgm:t>
    </dgm:pt>
    <dgm:pt modelId="{B4A6395B-353A-4894-A1F9-CCA8626A8486}" type="sibTrans" cxnId="{EFF5367D-36E6-4D98-8A54-B0916DDC0A07}">
      <dgm:prSet/>
      <dgm:spPr/>
      <dgm:t>
        <a:bodyPr/>
        <a:lstStyle/>
        <a:p>
          <a:endParaRPr lang="pt-BR" sz="1400"/>
        </a:p>
      </dgm:t>
    </dgm:pt>
    <dgm:pt modelId="{1C23E16E-AA28-4F75-90A2-CBB93CB71CCD}">
      <dgm:prSet phldrT="[Text]" custT="1"/>
      <dgm:spPr/>
      <dgm:t>
        <a:bodyPr/>
        <a:lstStyle/>
        <a:p>
          <a:r>
            <a:rPr lang="en-US" sz="1600" noProof="0" dirty="0"/>
            <a:t>Enhanced charts; Exploratory Data Analysis</a:t>
          </a:r>
        </a:p>
      </dgm:t>
    </dgm:pt>
    <dgm:pt modelId="{0D783608-1256-47E7-AE82-0C45DA35618A}" type="parTrans" cxnId="{D44F4B7F-E410-4112-B45B-D97120631FB3}">
      <dgm:prSet/>
      <dgm:spPr/>
      <dgm:t>
        <a:bodyPr/>
        <a:lstStyle/>
        <a:p>
          <a:endParaRPr lang="pt-BR" sz="1400"/>
        </a:p>
      </dgm:t>
    </dgm:pt>
    <dgm:pt modelId="{27E02A9A-2E3B-4241-A23D-44B95D26BD96}" type="sibTrans" cxnId="{D44F4B7F-E410-4112-B45B-D97120631FB3}">
      <dgm:prSet/>
      <dgm:spPr/>
      <dgm:t>
        <a:bodyPr/>
        <a:lstStyle/>
        <a:p>
          <a:endParaRPr lang="pt-BR" sz="1400"/>
        </a:p>
      </dgm:t>
    </dgm:pt>
    <dgm:pt modelId="{A8B9BA02-9906-491E-A22A-AC80DFAE2484}">
      <dgm:prSet phldrT="[Text]" custT="1"/>
      <dgm:spPr/>
      <dgm:t>
        <a:bodyPr/>
        <a:lstStyle/>
        <a:p>
          <a:r>
            <a:rPr lang="en-US" sz="3600" noProof="0" dirty="0"/>
            <a:t>Scikit-learn</a:t>
          </a:r>
        </a:p>
      </dgm:t>
    </dgm:pt>
    <dgm:pt modelId="{7B6B8E32-EAA7-44B7-A619-C98D8263E5ED}" type="parTrans" cxnId="{69A8DF4C-D6A2-4B07-9599-65146CC458B3}">
      <dgm:prSet/>
      <dgm:spPr/>
      <dgm:t>
        <a:bodyPr/>
        <a:lstStyle/>
        <a:p>
          <a:endParaRPr lang="pt-BR" sz="1400"/>
        </a:p>
      </dgm:t>
    </dgm:pt>
    <dgm:pt modelId="{63A04ECE-38EF-4A54-9790-7FF5DEC6ED63}" type="sibTrans" cxnId="{69A8DF4C-D6A2-4B07-9599-65146CC458B3}">
      <dgm:prSet/>
      <dgm:spPr/>
      <dgm:t>
        <a:bodyPr/>
        <a:lstStyle/>
        <a:p>
          <a:endParaRPr lang="pt-BR" sz="1400"/>
        </a:p>
      </dgm:t>
    </dgm:pt>
    <dgm:pt modelId="{B1A7C68B-4B34-4EB0-96B9-AA13CEBDED03}">
      <dgm:prSet phldrT="[Text]" custT="1"/>
      <dgm:spPr/>
      <dgm:t>
        <a:bodyPr/>
        <a:lstStyle/>
        <a:p>
          <a:r>
            <a:rPr lang="en-US" sz="1600" noProof="0" dirty="0"/>
            <a:t>Machine learning</a:t>
          </a:r>
        </a:p>
      </dgm:t>
    </dgm:pt>
    <dgm:pt modelId="{9A8A66F1-F77E-417F-84A6-E48F0167373D}" type="parTrans" cxnId="{D42064C6-81C1-44AD-A090-22FB197A7F92}">
      <dgm:prSet/>
      <dgm:spPr/>
      <dgm:t>
        <a:bodyPr/>
        <a:lstStyle/>
        <a:p>
          <a:endParaRPr lang="pt-BR" sz="1400"/>
        </a:p>
      </dgm:t>
    </dgm:pt>
    <dgm:pt modelId="{B54AE33C-4F09-4FFE-8DE8-C5B388B6FFBC}" type="sibTrans" cxnId="{D42064C6-81C1-44AD-A090-22FB197A7F92}">
      <dgm:prSet/>
      <dgm:spPr/>
      <dgm:t>
        <a:bodyPr/>
        <a:lstStyle/>
        <a:p>
          <a:endParaRPr lang="pt-BR" sz="1400"/>
        </a:p>
      </dgm:t>
    </dgm:pt>
    <dgm:pt modelId="{FF060707-F05D-4F42-98A9-D3683463F571}">
      <dgm:prSet phldrT="[Text]" custT="1"/>
      <dgm:spPr/>
      <dgm:t>
        <a:bodyPr/>
        <a:lstStyle/>
        <a:p>
          <a:r>
            <a:rPr lang="en-US" sz="1600" noProof="0" dirty="0"/>
            <a:t>Vectors; Matrices</a:t>
          </a:r>
        </a:p>
      </dgm:t>
    </dgm:pt>
    <dgm:pt modelId="{F567A72A-FCEC-4623-9317-175014C1A18F}" type="parTrans" cxnId="{45BB56FE-9FA3-48C1-B619-59D238D1BD6E}">
      <dgm:prSet/>
      <dgm:spPr/>
      <dgm:t>
        <a:bodyPr/>
        <a:lstStyle/>
        <a:p>
          <a:endParaRPr lang="pt-BR" sz="1400"/>
        </a:p>
      </dgm:t>
    </dgm:pt>
    <dgm:pt modelId="{1BB9BF69-5AAB-4A6A-B316-CE3DF3CB1777}" type="sibTrans" cxnId="{45BB56FE-9FA3-48C1-B619-59D238D1BD6E}">
      <dgm:prSet/>
      <dgm:spPr/>
      <dgm:t>
        <a:bodyPr/>
        <a:lstStyle/>
        <a:p>
          <a:endParaRPr lang="pt-BR" sz="1400"/>
        </a:p>
      </dgm:t>
    </dgm:pt>
    <dgm:pt modelId="{9BE12F7E-83DF-47D6-AD3E-28A203197037}">
      <dgm:prSet phldrT="[Text]" custT="1"/>
      <dgm:spPr/>
      <dgm:t>
        <a:bodyPr/>
        <a:lstStyle/>
        <a:p>
          <a:r>
            <a:rPr lang="en-US" sz="3600" noProof="0" dirty="0"/>
            <a:t>Pandas</a:t>
          </a:r>
        </a:p>
      </dgm:t>
    </dgm:pt>
    <dgm:pt modelId="{3A78372A-2737-49B1-A888-6147FEC24E71}" type="parTrans" cxnId="{0CAD57C7-E60C-499C-9314-5952A99D7B83}">
      <dgm:prSet/>
      <dgm:spPr/>
      <dgm:t>
        <a:bodyPr/>
        <a:lstStyle/>
        <a:p>
          <a:endParaRPr lang="pt-BR" sz="1400"/>
        </a:p>
      </dgm:t>
    </dgm:pt>
    <dgm:pt modelId="{F3D31842-8055-41D7-85AB-F9F60BC27D02}" type="sibTrans" cxnId="{0CAD57C7-E60C-499C-9314-5952A99D7B83}">
      <dgm:prSet/>
      <dgm:spPr/>
      <dgm:t>
        <a:bodyPr/>
        <a:lstStyle/>
        <a:p>
          <a:endParaRPr lang="pt-BR" sz="1400"/>
        </a:p>
      </dgm:t>
    </dgm:pt>
    <dgm:pt modelId="{3033E147-5F3C-4CC5-8D26-75737D137742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1"/>
            </a:rPr>
            <a:t>Documentation</a:t>
          </a:r>
          <a:endParaRPr lang="en-US" sz="1600" noProof="0" dirty="0"/>
        </a:p>
      </dgm:t>
    </dgm:pt>
    <dgm:pt modelId="{BDD04943-F7CB-4C25-BA40-B3BFCE404100}" type="parTrans" cxnId="{1F82CF72-F2C2-4D83-BAE0-6688406D8DC5}">
      <dgm:prSet/>
      <dgm:spPr/>
      <dgm:t>
        <a:bodyPr/>
        <a:lstStyle/>
        <a:p>
          <a:endParaRPr lang="pt-BR"/>
        </a:p>
      </dgm:t>
    </dgm:pt>
    <dgm:pt modelId="{932EBE89-5E53-4E5B-B51E-63AE50EF55FF}" type="sibTrans" cxnId="{1F82CF72-F2C2-4D83-BAE0-6688406D8DC5}">
      <dgm:prSet/>
      <dgm:spPr/>
      <dgm:t>
        <a:bodyPr/>
        <a:lstStyle/>
        <a:p>
          <a:endParaRPr lang="pt-BR"/>
        </a:p>
      </dgm:t>
    </dgm:pt>
    <dgm:pt modelId="{E73F3CFF-FF89-41EE-86B5-60DB5146DDBF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2"/>
            </a:rPr>
            <a:t>Documentation</a:t>
          </a:r>
          <a:endParaRPr lang="en-US" sz="1600" noProof="0" dirty="0"/>
        </a:p>
      </dgm:t>
    </dgm:pt>
    <dgm:pt modelId="{EBCE75ED-93DA-425A-9186-FEAAE8C403B5}" type="parTrans" cxnId="{A93E313A-49EC-4BB9-A99A-F6D888E4F29C}">
      <dgm:prSet/>
      <dgm:spPr/>
      <dgm:t>
        <a:bodyPr/>
        <a:lstStyle/>
        <a:p>
          <a:endParaRPr lang="pt-BR"/>
        </a:p>
      </dgm:t>
    </dgm:pt>
    <dgm:pt modelId="{9115C4CB-0B80-49F4-8810-6BE498040E9A}" type="sibTrans" cxnId="{A93E313A-49EC-4BB9-A99A-F6D888E4F29C}">
      <dgm:prSet/>
      <dgm:spPr/>
      <dgm:t>
        <a:bodyPr/>
        <a:lstStyle/>
        <a:p>
          <a:endParaRPr lang="pt-BR"/>
        </a:p>
      </dgm:t>
    </dgm:pt>
    <dgm:pt modelId="{74C8D31F-D277-4DDA-9B59-D2F40B1C0077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3"/>
            </a:rPr>
            <a:t>Documentation</a:t>
          </a:r>
          <a:endParaRPr lang="en-US" sz="1600" noProof="0" dirty="0"/>
        </a:p>
      </dgm:t>
    </dgm:pt>
    <dgm:pt modelId="{BE8A8579-AB59-4DDA-B40F-9B96285593EA}" type="parTrans" cxnId="{53AAB5F3-DFEC-4438-B7E1-3C1D4620DCAC}">
      <dgm:prSet/>
      <dgm:spPr/>
      <dgm:t>
        <a:bodyPr/>
        <a:lstStyle/>
        <a:p>
          <a:endParaRPr lang="pt-BR"/>
        </a:p>
      </dgm:t>
    </dgm:pt>
    <dgm:pt modelId="{383B9079-6DF2-487B-9416-AAD156332E40}" type="sibTrans" cxnId="{53AAB5F3-DFEC-4438-B7E1-3C1D4620DCAC}">
      <dgm:prSet/>
      <dgm:spPr/>
      <dgm:t>
        <a:bodyPr/>
        <a:lstStyle/>
        <a:p>
          <a:endParaRPr lang="pt-BR"/>
        </a:p>
      </dgm:t>
    </dgm:pt>
    <dgm:pt modelId="{81ED07C8-FCC8-4710-9A13-08EFC210C290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4"/>
            </a:rPr>
            <a:t>Documentation</a:t>
          </a:r>
          <a:endParaRPr lang="en-US" sz="1600" noProof="0" dirty="0"/>
        </a:p>
      </dgm:t>
    </dgm:pt>
    <dgm:pt modelId="{0BBAEF7E-A2DF-41DC-B5D7-5530CD165650}" type="parTrans" cxnId="{75884415-68B2-417E-82D0-ABA4A9CCBE13}">
      <dgm:prSet/>
      <dgm:spPr/>
      <dgm:t>
        <a:bodyPr/>
        <a:lstStyle/>
        <a:p>
          <a:endParaRPr lang="pt-BR"/>
        </a:p>
      </dgm:t>
    </dgm:pt>
    <dgm:pt modelId="{F290F7AB-4972-44BD-AAA4-CE6544F9FE65}" type="sibTrans" cxnId="{75884415-68B2-417E-82D0-ABA4A9CCBE13}">
      <dgm:prSet/>
      <dgm:spPr/>
      <dgm:t>
        <a:bodyPr/>
        <a:lstStyle/>
        <a:p>
          <a:endParaRPr lang="pt-BR"/>
        </a:p>
      </dgm:t>
    </dgm:pt>
    <dgm:pt modelId="{0B68ED85-DA7B-4175-AB81-95EC91174D04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5"/>
            </a:rPr>
            <a:t>Documentation</a:t>
          </a:r>
          <a:endParaRPr lang="en-US" sz="1600" noProof="0" dirty="0"/>
        </a:p>
      </dgm:t>
    </dgm:pt>
    <dgm:pt modelId="{86D01574-2B31-4AFC-889F-75611280564B}" type="parTrans" cxnId="{9304C930-9718-4976-B193-E8FC82B694AB}">
      <dgm:prSet/>
      <dgm:spPr/>
      <dgm:t>
        <a:bodyPr/>
        <a:lstStyle/>
        <a:p>
          <a:endParaRPr lang="pt-BR"/>
        </a:p>
      </dgm:t>
    </dgm:pt>
    <dgm:pt modelId="{26FEE9BC-3C74-4423-B478-52D6178B27AC}" type="sibTrans" cxnId="{9304C930-9718-4976-B193-E8FC82B694AB}">
      <dgm:prSet/>
      <dgm:spPr/>
      <dgm:t>
        <a:bodyPr/>
        <a:lstStyle/>
        <a:p>
          <a:endParaRPr lang="pt-BR"/>
        </a:p>
      </dgm:t>
    </dgm:pt>
    <dgm:pt modelId="{525431C3-9538-4030-9D80-3448DC4B1C8A}">
      <dgm:prSet phldrT="[Text]" custT="1"/>
      <dgm:spPr/>
      <dgm:t>
        <a:bodyPr/>
        <a:lstStyle/>
        <a:p>
          <a:r>
            <a:rPr lang="en-US" sz="3600" noProof="0" dirty="0"/>
            <a:t>Scipy</a:t>
          </a:r>
        </a:p>
      </dgm:t>
    </dgm:pt>
    <dgm:pt modelId="{7C62784D-492E-4DF7-8634-BB3AEAF0F3C9}" type="parTrans" cxnId="{93EEDD26-BC80-426B-952E-A152EAD149A8}">
      <dgm:prSet/>
      <dgm:spPr/>
      <dgm:t>
        <a:bodyPr/>
        <a:lstStyle/>
        <a:p>
          <a:endParaRPr lang="pt-BR"/>
        </a:p>
      </dgm:t>
    </dgm:pt>
    <dgm:pt modelId="{4D97736C-69CE-459C-8C17-06C4ECCCD105}" type="sibTrans" cxnId="{93EEDD26-BC80-426B-952E-A152EAD149A8}">
      <dgm:prSet/>
      <dgm:spPr/>
      <dgm:t>
        <a:bodyPr/>
        <a:lstStyle/>
        <a:p>
          <a:endParaRPr lang="pt-BR"/>
        </a:p>
      </dgm:t>
    </dgm:pt>
    <dgm:pt modelId="{F3419300-3D0A-4288-AB86-5BA92C8CA82D}">
      <dgm:prSet phldrT="[Text]" custT="1"/>
      <dgm:spPr/>
      <dgm:t>
        <a:bodyPr/>
        <a:lstStyle/>
        <a:p>
          <a:r>
            <a:rPr lang="pt-BR" sz="1600" b="0" i="0" dirty="0"/>
            <a:t>Mathematical calculations and statistics</a:t>
          </a:r>
          <a:endParaRPr lang="en-US" sz="1600" noProof="0" dirty="0"/>
        </a:p>
      </dgm:t>
    </dgm:pt>
    <dgm:pt modelId="{FB692CD8-72A1-4129-87A6-0789035E5FCD}" type="parTrans" cxnId="{22E793E7-8A1E-4333-96E0-5067A93FC603}">
      <dgm:prSet/>
      <dgm:spPr/>
      <dgm:t>
        <a:bodyPr/>
        <a:lstStyle/>
        <a:p>
          <a:endParaRPr lang="pt-BR"/>
        </a:p>
      </dgm:t>
    </dgm:pt>
    <dgm:pt modelId="{A3529617-3A46-43A2-8A9F-F6D56D59B73A}" type="sibTrans" cxnId="{22E793E7-8A1E-4333-96E0-5067A93FC603}">
      <dgm:prSet/>
      <dgm:spPr/>
      <dgm:t>
        <a:bodyPr/>
        <a:lstStyle/>
        <a:p>
          <a:endParaRPr lang="pt-BR"/>
        </a:p>
      </dgm:t>
    </dgm:pt>
    <dgm:pt modelId="{6CB27C20-F7CE-4AE6-BF01-622AD10FD4AB}">
      <dgm:prSet phldrT="[Text]" custT="1"/>
      <dgm:spPr/>
      <dgm:t>
        <a:bodyPr/>
        <a:lstStyle/>
        <a:p>
          <a:r>
            <a:rPr lang="en-US" sz="1600" noProof="0" dirty="0">
              <a:hlinkClick xmlns:r="http://schemas.openxmlformats.org/officeDocument/2006/relationships" r:id="rId6"/>
            </a:rPr>
            <a:t>Documentation</a:t>
          </a:r>
          <a:endParaRPr lang="en-US" sz="1600" noProof="0" dirty="0"/>
        </a:p>
      </dgm:t>
    </dgm:pt>
    <dgm:pt modelId="{84460A0C-F815-4A3F-9562-EC312A9BA752}" type="parTrans" cxnId="{51306D6C-6FAA-4937-99F4-D48B06D405F4}">
      <dgm:prSet/>
      <dgm:spPr/>
      <dgm:t>
        <a:bodyPr/>
        <a:lstStyle/>
        <a:p>
          <a:endParaRPr lang="pt-BR"/>
        </a:p>
      </dgm:t>
    </dgm:pt>
    <dgm:pt modelId="{A7795A01-6CF3-4A01-89D8-442BAB5E09E0}" type="sibTrans" cxnId="{51306D6C-6FAA-4937-99F4-D48B06D405F4}">
      <dgm:prSet/>
      <dgm:spPr/>
      <dgm:t>
        <a:bodyPr/>
        <a:lstStyle/>
        <a:p>
          <a:endParaRPr lang="pt-BR"/>
        </a:p>
      </dgm:t>
    </dgm:pt>
    <dgm:pt modelId="{5885E8E3-ED99-42C4-B303-90338261AD85}" type="pres">
      <dgm:prSet presAssocID="{0E9F20FD-6A1D-4A0B-8EB5-2C28CDB8623B}" presName="Name0" presStyleCnt="0">
        <dgm:presLayoutVars>
          <dgm:dir/>
          <dgm:animLvl val="lvl"/>
          <dgm:resizeHandles/>
        </dgm:presLayoutVars>
      </dgm:prSet>
      <dgm:spPr/>
    </dgm:pt>
    <dgm:pt modelId="{310FFF44-AB69-42AA-B341-3E8C34546336}" type="pres">
      <dgm:prSet presAssocID="{A70AEB9D-57BE-4B00-A1B0-70E9F98ECD99}" presName="linNode" presStyleCnt="0"/>
      <dgm:spPr/>
    </dgm:pt>
    <dgm:pt modelId="{3E72E26E-1BDE-4295-96E1-575A24109E46}" type="pres">
      <dgm:prSet presAssocID="{A70AEB9D-57BE-4B00-A1B0-70E9F98ECD99}" presName="parentShp" presStyleLbl="node1" presStyleIdx="0" presStyleCnt="6">
        <dgm:presLayoutVars>
          <dgm:bulletEnabled val="1"/>
        </dgm:presLayoutVars>
      </dgm:prSet>
      <dgm:spPr/>
    </dgm:pt>
    <dgm:pt modelId="{14578B39-C9EE-4CE8-B072-45FE2A6952E9}" type="pres">
      <dgm:prSet presAssocID="{A70AEB9D-57BE-4B00-A1B0-70E9F98ECD99}" presName="childShp" presStyleLbl="bgAccFollowNode1" presStyleIdx="0" presStyleCnt="6">
        <dgm:presLayoutVars>
          <dgm:bulletEnabled val="1"/>
        </dgm:presLayoutVars>
      </dgm:prSet>
      <dgm:spPr/>
    </dgm:pt>
    <dgm:pt modelId="{DE38702E-81E4-42DD-835B-92ECC8120081}" type="pres">
      <dgm:prSet presAssocID="{66BB1419-578A-4B86-ADBB-F79C569C08F6}" presName="spacing" presStyleCnt="0"/>
      <dgm:spPr/>
    </dgm:pt>
    <dgm:pt modelId="{0E08E06A-2061-405B-A684-82C6B64AE9EE}" type="pres">
      <dgm:prSet presAssocID="{9BE12F7E-83DF-47D6-AD3E-28A203197037}" presName="linNode" presStyleCnt="0"/>
      <dgm:spPr/>
    </dgm:pt>
    <dgm:pt modelId="{6B85D400-B873-4E90-8E20-9C25F00A4CA7}" type="pres">
      <dgm:prSet presAssocID="{9BE12F7E-83DF-47D6-AD3E-28A203197037}" presName="parentShp" presStyleLbl="node1" presStyleIdx="1" presStyleCnt="6">
        <dgm:presLayoutVars>
          <dgm:bulletEnabled val="1"/>
        </dgm:presLayoutVars>
      </dgm:prSet>
      <dgm:spPr/>
    </dgm:pt>
    <dgm:pt modelId="{77038478-55FF-494A-9055-BF558223EABC}" type="pres">
      <dgm:prSet presAssocID="{9BE12F7E-83DF-47D6-AD3E-28A203197037}" presName="childShp" presStyleLbl="bgAccFollowNode1" presStyleIdx="1" presStyleCnt="6">
        <dgm:presLayoutVars>
          <dgm:bulletEnabled val="1"/>
        </dgm:presLayoutVars>
      </dgm:prSet>
      <dgm:spPr/>
    </dgm:pt>
    <dgm:pt modelId="{49D1ADA5-3435-4FF6-A631-74F675B4723C}" type="pres">
      <dgm:prSet presAssocID="{F3D31842-8055-41D7-85AB-F9F60BC27D02}" presName="spacing" presStyleCnt="0"/>
      <dgm:spPr/>
    </dgm:pt>
    <dgm:pt modelId="{A1BC5188-6AE1-4DCD-82EA-7C78AAFA7587}" type="pres">
      <dgm:prSet presAssocID="{525431C3-9538-4030-9D80-3448DC4B1C8A}" presName="linNode" presStyleCnt="0"/>
      <dgm:spPr/>
    </dgm:pt>
    <dgm:pt modelId="{B2874E43-1B58-4DD6-85A5-6CBDCED0A267}" type="pres">
      <dgm:prSet presAssocID="{525431C3-9538-4030-9D80-3448DC4B1C8A}" presName="parentShp" presStyleLbl="node1" presStyleIdx="2" presStyleCnt="6">
        <dgm:presLayoutVars>
          <dgm:bulletEnabled val="1"/>
        </dgm:presLayoutVars>
      </dgm:prSet>
      <dgm:spPr/>
    </dgm:pt>
    <dgm:pt modelId="{A2854606-8D40-4245-BF44-04716AC9ED9B}" type="pres">
      <dgm:prSet presAssocID="{525431C3-9538-4030-9D80-3448DC4B1C8A}" presName="childShp" presStyleLbl="bgAccFollowNode1" presStyleIdx="2" presStyleCnt="6">
        <dgm:presLayoutVars>
          <dgm:bulletEnabled val="1"/>
        </dgm:presLayoutVars>
      </dgm:prSet>
      <dgm:spPr/>
    </dgm:pt>
    <dgm:pt modelId="{3E8621BC-891F-4784-A21A-75AB7DEA6FDE}" type="pres">
      <dgm:prSet presAssocID="{4D97736C-69CE-459C-8C17-06C4ECCCD105}" presName="spacing" presStyleCnt="0"/>
      <dgm:spPr/>
    </dgm:pt>
    <dgm:pt modelId="{D3064F6E-D589-414F-A405-0B61615D813D}" type="pres">
      <dgm:prSet presAssocID="{C129B489-734D-4551-8C21-118CCB93BF60}" presName="linNode" presStyleCnt="0"/>
      <dgm:spPr/>
    </dgm:pt>
    <dgm:pt modelId="{F82BE14B-26C6-4EAA-9BB7-B31D97EC3799}" type="pres">
      <dgm:prSet presAssocID="{C129B489-734D-4551-8C21-118CCB93BF60}" presName="parentShp" presStyleLbl="node1" presStyleIdx="3" presStyleCnt="6">
        <dgm:presLayoutVars>
          <dgm:bulletEnabled val="1"/>
        </dgm:presLayoutVars>
      </dgm:prSet>
      <dgm:spPr/>
    </dgm:pt>
    <dgm:pt modelId="{47747684-BB3A-4490-B30D-E1354A49647D}" type="pres">
      <dgm:prSet presAssocID="{C129B489-734D-4551-8C21-118CCB93BF60}" presName="childShp" presStyleLbl="bgAccFollowNode1" presStyleIdx="3" presStyleCnt="6">
        <dgm:presLayoutVars>
          <dgm:bulletEnabled val="1"/>
        </dgm:presLayoutVars>
      </dgm:prSet>
      <dgm:spPr/>
    </dgm:pt>
    <dgm:pt modelId="{F528BCCC-5178-4255-8627-2F22E2357EAF}" type="pres">
      <dgm:prSet presAssocID="{DC220B3E-06B5-436E-B5FD-B26CF7C8775D}" presName="spacing" presStyleCnt="0"/>
      <dgm:spPr/>
    </dgm:pt>
    <dgm:pt modelId="{3D3AFF09-122E-47F3-B514-C8E65744CDE0}" type="pres">
      <dgm:prSet presAssocID="{A56284AB-A466-4AE4-B4BE-DEB49FE02519}" presName="linNode" presStyleCnt="0"/>
      <dgm:spPr/>
    </dgm:pt>
    <dgm:pt modelId="{7B339933-02FF-4714-90A4-353F8C3AD8E5}" type="pres">
      <dgm:prSet presAssocID="{A56284AB-A466-4AE4-B4BE-DEB49FE02519}" presName="parentShp" presStyleLbl="node1" presStyleIdx="4" presStyleCnt="6">
        <dgm:presLayoutVars>
          <dgm:bulletEnabled val="1"/>
        </dgm:presLayoutVars>
      </dgm:prSet>
      <dgm:spPr/>
    </dgm:pt>
    <dgm:pt modelId="{6097E396-CCB7-4A12-B0D8-EBB90EBE5B8A}" type="pres">
      <dgm:prSet presAssocID="{A56284AB-A466-4AE4-B4BE-DEB49FE02519}" presName="childShp" presStyleLbl="bgAccFollowNode1" presStyleIdx="4" presStyleCnt="6">
        <dgm:presLayoutVars>
          <dgm:bulletEnabled val="1"/>
        </dgm:presLayoutVars>
      </dgm:prSet>
      <dgm:spPr/>
    </dgm:pt>
    <dgm:pt modelId="{F348F1AF-4767-408E-9072-52BF680E3388}" type="pres">
      <dgm:prSet presAssocID="{B4A6395B-353A-4894-A1F9-CCA8626A8486}" presName="spacing" presStyleCnt="0"/>
      <dgm:spPr/>
    </dgm:pt>
    <dgm:pt modelId="{DB737437-660C-491C-AECC-76279209FF76}" type="pres">
      <dgm:prSet presAssocID="{A8B9BA02-9906-491E-A22A-AC80DFAE2484}" presName="linNode" presStyleCnt="0"/>
      <dgm:spPr/>
    </dgm:pt>
    <dgm:pt modelId="{4ED13694-86D4-4061-8457-EE6F7CD902A5}" type="pres">
      <dgm:prSet presAssocID="{A8B9BA02-9906-491E-A22A-AC80DFAE2484}" presName="parentShp" presStyleLbl="node1" presStyleIdx="5" presStyleCnt="6">
        <dgm:presLayoutVars>
          <dgm:bulletEnabled val="1"/>
        </dgm:presLayoutVars>
      </dgm:prSet>
      <dgm:spPr/>
    </dgm:pt>
    <dgm:pt modelId="{766CB95F-1FA6-4F70-8599-3C08C61435F4}" type="pres">
      <dgm:prSet presAssocID="{A8B9BA02-9906-491E-A22A-AC80DFAE2484}" presName="childShp" presStyleLbl="bgAccFollowNode1" presStyleIdx="5" presStyleCnt="6">
        <dgm:presLayoutVars>
          <dgm:bulletEnabled val="1"/>
        </dgm:presLayoutVars>
      </dgm:prSet>
      <dgm:spPr/>
    </dgm:pt>
  </dgm:ptLst>
  <dgm:cxnLst>
    <dgm:cxn modelId="{75884415-68B2-417E-82D0-ABA4A9CCBE13}" srcId="{A56284AB-A466-4AE4-B4BE-DEB49FE02519}" destId="{81ED07C8-FCC8-4710-9A13-08EFC210C290}" srcOrd="1" destOrd="0" parTransId="{0BBAEF7E-A2DF-41DC-B5D7-5530CD165650}" sibTransId="{F290F7AB-4972-44BD-AAA4-CE6544F9FE65}"/>
    <dgm:cxn modelId="{1BD9081E-6745-48BA-B7FF-B1D6FB992901}" srcId="{C129B489-734D-4551-8C21-118CCB93BF60}" destId="{3578EF68-63AD-49A0-B283-47E0F3F0F954}" srcOrd="0" destOrd="0" parTransId="{591C6E22-267F-4EDA-A70A-A7BD642FE566}" sibTransId="{7AA2E42B-5299-4326-9668-3E68B5448CD3}"/>
    <dgm:cxn modelId="{2B3BF321-9AA8-4BAE-ACCD-817CD5A7B18D}" srcId="{9BE12F7E-83DF-47D6-AD3E-28A203197037}" destId="{382D4415-1AF7-48E6-B42C-330C9E5CE84A}" srcOrd="0" destOrd="0" parTransId="{8D2998EC-1009-42E2-8CDF-F86914CF5454}" sibTransId="{219D3A77-E157-4475-8942-ADD967E07DB7}"/>
    <dgm:cxn modelId="{DC22B723-404B-4F36-9A9D-FA7F5408CEB1}" type="presOf" srcId="{81ED07C8-FCC8-4710-9A13-08EFC210C290}" destId="{6097E396-CCB7-4A12-B0D8-EBB90EBE5B8A}" srcOrd="0" destOrd="1" presId="urn:microsoft.com/office/officeart/2005/8/layout/vList6"/>
    <dgm:cxn modelId="{93EEDD26-BC80-426B-952E-A152EAD149A8}" srcId="{0E9F20FD-6A1D-4A0B-8EB5-2C28CDB8623B}" destId="{525431C3-9538-4030-9D80-3448DC4B1C8A}" srcOrd="2" destOrd="0" parTransId="{7C62784D-492E-4DF7-8634-BB3AEAF0F3C9}" sibTransId="{4D97736C-69CE-459C-8C17-06C4ECCCD105}"/>
    <dgm:cxn modelId="{213A8D30-8C50-44F5-9058-85F553CDB43F}" type="presOf" srcId="{525431C3-9538-4030-9D80-3448DC4B1C8A}" destId="{B2874E43-1B58-4DD6-85A5-6CBDCED0A267}" srcOrd="0" destOrd="0" presId="urn:microsoft.com/office/officeart/2005/8/layout/vList6"/>
    <dgm:cxn modelId="{9304C930-9718-4976-B193-E8FC82B694AB}" srcId="{A8B9BA02-9906-491E-A22A-AC80DFAE2484}" destId="{0B68ED85-DA7B-4175-AB81-95EC91174D04}" srcOrd="1" destOrd="0" parTransId="{86D01574-2B31-4AFC-889F-75611280564B}" sibTransId="{26FEE9BC-3C74-4423-B478-52D6178B27AC}"/>
    <dgm:cxn modelId="{6B407A37-A37C-47E5-BBFD-9491D2B8E075}" srcId="{0E9F20FD-6A1D-4A0B-8EB5-2C28CDB8623B}" destId="{C129B489-734D-4551-8C21-118CCB93BF60}" srcOrd="3" destOrd="0" parTransId="{6B0FFEFD-73FE-421F-BF80-41B5C05B044D}" sibTransId="{DC220B3E-06B5-436E-B5FD-B26CF7C8775D}"/>
    <dgm:cxn modelId="{9A47E239-2D2E-49B5-811A-3F568060750F}" srcId="{0E9F20FD-6A1D-4A0B-8EB5-2C28CDB8623B}" destId="{A70AEB9D-57BE-4B00-A1B0-70E9F98ECD99}" srcOrd="0" destOrd="0" parTransId="{72B1BD57-E8BE-494F-BED9-FC37C1255448}" sibTransId="{66BB1419-578A-4B86-ADBB-F79C569C08F6}"/>
    <dgm:cxn modelId="{A93E313A-49EC-4BB9-A99A-F6D888E4F29C}" srcId="{9BE12F7E-83DF-47D6-AD3E-28A203197037}" destId="{E73F3CFF-FF89-41EE-86B5-60DB5146DDBF}" srcOrd="1" destOrd="0" parTransId="{EBCE75ED-93DA-425A-9186-FEAAE8C403B5}" sibTransId="{9115C4CB-0B80-49F4-8810-6BE498040E9A}"/>
    <dgm:cxn modelId="{DEEF0462-1156-4208-B798-B5CD19EDC379}" type="presOf" srcId="{A70AEB9D-57BE-4B00-A1B0-70E9F98ECD99}" destId="{3E72E26E-1BDE-4295-96E1-575A24109E46}" srcOrd="0" destOrd="0" presId="urn:microsoft.com/office/officeart/2005/8/layout/vList6"/>
    <dgm:cxn modelId="{CF4A9D43-377C-4908-AE0F-54B665667F40}" type="presOf" srcId="{A8B9BA02-9906-491E-A22A-AC80DFAE2484}" destId="{4ED13694-86D4-4061-8457-EE6F7CD902A5}" srcOrd="0" destOrd="0" presId="urn:microsoft.com/office/officeart/2005/8/layout/vList6"/>
    <dgm:cxn modelId="{51306D6C-6FAA-4937-99F4-D48B06D405F4}" srcId="{525431C3-9538-4030-9D80-3448DC4B1C8A}" destId="{6CB27C20-F7CE-4AE6-BF01-622AD10FD4AB}" srcOrd="1" destOrd="0" parTransId="{84460A0C-F815-4A3F-9562-EC312A9BA752}" sibTransId="{A7795A01-6CF3-4A01-89D8-442BAB5E09E0}"/>
    <dgm:cxn modelId="{69A8DF4C-D6A2-4B07-9599-65146CC458B3}" srcId="{0E9F20FD-6A1D-4A0B-8EB5-2C28CDB8623B}" destId="{A8B9BA02-9906-491E-A22A-AC80DFAE2484}" srcOrd="5" destOrd="0" parTransId="{7B6B8E32-EAA7-44B7-A619-C98D8263E5ED}" sibTransId="{63A04ECE-38EF-4A54-9790-7FF5DEC6ED63}"/>
    <dgm:cxn modelId="{1C43126E-280D-42B2-834B-1B05ED85AF81}" type="presOf" srcId="{3033E147-5F3C-4CC5-8D26-75737D137742}" destId="{14578B39-C9EE-4CE8-B072-45FE2A6952E9}" srcOrd="0" destOrd="1" presId="urn:microsoft.com/office/officeart/2005/8/layout/vList6"/>
    <dgm:cxn modelId="{1F82CF72-F2C2-4D83-BAE0-6688406D8DC5}" srcId="{A70AEB9D-57BE-4B00-A1B0-70E9F98ECD99}" destId="{3033E147-5F3C-4CC5-8D26-75737D137742}" srcOrd="1" destOrd="0" parTransId="{BDD04943-F7CB-4C25-BA40-B3BFCE404100}" sibTransId="{932EBE89-5E53-4E5B-B51E-63AE50EF55FF}"/>
    <dgm:cxn modelId="{5E53A077-441A-4E4F-9CEC-4F79B7AE72D7}" type="presOf" srcId="{E73F3CFF-FF89-41EE-86B5-60DB5146DDBF}" destId="{77038478-55FF-494A-9055-BF558223EABC}" srcOrd="0" destOrd="1" presId="urn:microsoft.com/office/officeart/2005/8/layout/vList6"/>
    <dgm:cxn modelId="{EFF5367D-36E6-4D98-8A54-B0916DDC0A07}" srcId="{0E9F20FD-6A1D-4A0B-8EB5-2C28CDB8623B}" destId="{A56284AB-A466-4AE4-B4BE-DEB49FE02519}" srcOrd="4" destOrd="0" parTransId="{49CA180B-A2EA-4E08-ABC1-4D02164CAD45}" sibTransId="{B4A6395B-353A-4894-A1F9-CCA8626A8486}"/>
    <dgm:cxn modelId="{D44F4B7F-E410-4112-B45B-D97120631FB3}" srcId="{A56284AB-A466-4AE4-B4BE-DEB49FE02519}" destId="{1C23E16E-AA28-4F75-90A2-CBB93CB71CCD}" srcOrd="0" destOrd="0" parTransId="{0D783608-1256-47E7-AE82-0C45DA35618A}" sibTransId="{27E02A9A-2E3B-4241-A23D-44B95D26BD96}"/>
    <dgm:cxn modelId="{0769748E-DFB8-49E5-BB39-46FA5FD28E89}" type="presOf" srcId="{9BE12F7E-83DF-47D6-AD3E-28A203197037}" destId="{6B85D400-B873-4E90-8E20-9C25F00A4CA7}" srcOrd="0" destOrd="0" presId="urn:microsoft.com/office/officeart/2005/8/layout/vList6"/>
    <dgm:cxn modelId="{0DD00090-22E8-48A8-BCF7-6CA5877B62CA}" type="presOf" srcId="{FF060707-F05D-4F42-98A9-D3683463F571}" destId="{14578B39-C9EE-4CE8-B072-45FE2A6952E9}" srcOrd="0" destOrd="0" presId="urn:microsoft.com/office/officeart/2005/8/layout/vList6"/>
    <dgm:cxn modelId="{8DC0E595-6221-4956-8AB6-2A47A893F1D7}" type="presOf" srcId="{A56284AB-A466-4AE4-B4BE-DEB49FE02519}" destId="{7B339933-02FF-4714-90A4-353F8C3AD8E5}" srcOrd="0" destOrd="0" presId="urn:microsoft.com/office/officeart/2005/8/layout/vList6"/>
    <dgm:cxn modelId="{71770F9C-0810-4EC9-AC5D-F43C9546050F}" type="presOf" srcId="{F3419300-3D0A-4288-AB86-5BA92C8CA82D}" destId="{A2854606-8D40-4245-BF44-04716AC9ED9B}" srcOrd="0" destOrd="0" presId="urn:microsoft.com/office/officeart/2005/8/layout/vList6"/>
    <dgm:cxn modelId="{AEA935BB-53C5-4E92-A24D-4D4089A51607}" type="presOf" srcId="{1C23E16E-AA28-4F75-90A2-CBB93CB71CCD}" destId="{6097E396-CCB7-4A12-B0D8-EBB90EBE5B8A}" srcOrd="0" destOrd="0" presId="urn:microsoft.com/office/officeart/2005/8/layout/vList6"/>
    <dgm:cxn modelId="{D0D53EBB-13BB-4D9F-9F9F-2F0211ADEDB0}" type="presOf" srcId="{0E9F20FD-6A1D-4A0B-8EB5-2C28CDB8623B}" destId="{5885E8E3-ED99-42C4-B303-90338261AD85}" srcOrd="0" destOrd="0" presId="urn:microsoft.com/office/officeart/2005/8/layout/vList6"/>
    <dgm:cxn modelId="{3008D0BC-E680-4BB6-A694-261EE0501799}" type="presOf" srcId="{3578EF68-63AD-49A0-B283-47E0F3F0F954}" destId="{47747684-BB3A-4490-B30D-E1354A49647D}" srcOrd="0" destOrd="0" presId="urn:microsoft.com/office/officeart/2005/8/layout/vList6"/>
    <dgm:cxn modelId="{1FF49CC4-9D65-4EF5-9A0B-3FAEF19AE8AA}" type="presOf" srcId="{0B68ED85-DA7B-4175-AB81-95EC91174D04}" destId="{766CB95F-1FA6-4F70-8599-3C08C61435F4}" srcOrd="0" destOrd="1" presId="urn:microsoft.com/office/officeart/2005/8/layout/vList6"/>
    <dgm:cxn modelId="{D42064C6-81C1-44AD-A090-22FB197A7F92}" srcId="{A8B9BA02-9906-491E-A22A-AC80DFAE2484}" destId="{B1A7C68B-4B34-4EB0-96B9-AA13CEBDED03}" srcOrd="0" destOrd="0" parTransId="{9A8A66F1-F77E-417F-84A6-E48F0167373D}" sibTransId="{B54AE33C-4F09-4FFE-8DE8-C5B388B6FFBC}"/>
    <dgm:cxn modelId="{32E190C6-FD44-40CC-9C76-9CC2C0C2FD70}" type="presOf" srcId="{B1A7C68B-4B34-4EB0-96B9-AA13CEBDED03}" destId="{766CB95F-1FA6-4F70-8599-3C08C61435F4}" srcOrd="0" destOrd="0" presId="urn:microsoft.com/office/officeart/2005/8/layout/vList6"/>
    <dgm:cxn modelId="{0CAD57C7-E60C-499C-9314-5952A99D7B83}" srcId="{0E9F20FD-6A1D-4A0B-8EB5-2C28CDB8623B}" destId="{9BE12F7E-83DF-47D6-AD3E-28A203197037}" srcOrd="1" destOrd="0" parTransId="{3A78372A-2737-49B1-A888-6147FEC24E71}" sibTransId="{F3D31842-8055-41D7-85AB-F9F60BC27D02}"/>
    <dgm:cxn modelId="{9627C8C9-5ABE-43C5-BB5D-351B291532D7}" type="presOf" srcId="{C129B489-734D-4551-8C21-118CCB93BF60}" destId="{F82BE14B-26C6-4EAA-9BB7-B31D97EC3799}" srcOrd="0" destOrd="0" presId="urn:microsoft.com/office/officeart/2005/8/layout/vList6"/>
    <dgm:cxn modelId="{7FCB61D0-2A08-40BD-9343-6F67A04C864B}" type="presOf" srcId="{74C8D31F-D277-4DDA-9B59-D2F40B1C0077}" destId="{47747684-BB3A-4490-B30D-E1354A49647D}" srcOrd="0" destOrd="1" presId="urn:microsoft.com/office/officeart/2005/8/layout/vList6"/>
    <dgm:cxn modelId="{22E793E7-8A1E-4333-96E0-5067A93FC603}" srcId="{525431C3-9538-4030-9D80-3448DC4B1C8A}" destId="{F3419300-3D0A-4288-AB86-5BA92C8CA82D}" srcOrd="0" destOrd="0" parTransId="{FB692CD8-72A1-4129-87A6-0789035E5FCD}" sibTransId="{A3529617-3A46-43A2-8A9F-F6D56D59B73A}"/>
    <dgm:cxn modelId="{10C89CEA-1060-4DD7-9136-494F5CF0429B}" type="presOf" srcId="{6CB27C20-F7CE-4AE6-BF01-622AD10FD4AB}" destId="{A2854606-8D40-4245-BF44-04716AC9ED9B}" srcOrd="0" destOrd="1" presId="urn:microsoft.com/office/officeart/2005/8/layout/vList6"/>
    <dgm:cxn modelId="{99B7EEEA-3FE8-4FAD-BCCC-EF919BE9580B}" type="presOf" srcId="{382D4415-1AF7-48E6-B42C-330C9E5CE84A}" destId="{77038478-55FF-494A-9055-BF558223EABC}" srcOrd="0" destOrd="0" presId="urn:microsoft.com/office/officeart/2005/8/layout/vList6"/>
    <dgm:cxn modelId="{53AAB5F3-DFEC-4438-B7E1-3C1D4620DCAC}" srcId="{C129B489-734D-4551-8C21-118CCB93BF60}" destId="{74C8D31F-D277-4DDA-9B59-D2F40B1C0077}" srcOrd="1" destOrd="0" parTransId="{BE8A8579-AB59-4DDA-B40F-9B96285593EA}" sibTransId="{383B9079-6DF2-487B-9416-AAD156332E40}"/>
    <dgm:cxn modelId="{45BB56FE-9FA3-48C1-B619-59D238D1BD6E}" srcId="{A70AEB9D-57BE-4B00-A1B0-70E9F98ECD99}" destId="{FF060707-F05D-4F42-98A9-D3683463F571}" srcOrd="0" destOrd="0" parTransId="{F567A72A-FCEC-4623-9317-175014C1A18F}" sibTransId="{1BB9BF69-5AAB-4A6A-B316-CE3DF3CB1777}"/>
    <dgm:cxn modelId="{7719D147-9F1A-4DE8-B5E2-A92AF2755E95}" type="presParOf" srcId="{5885E8E3-ED99-42C4-B303-90338261AD85}" destId="{310FFF44-AB69-42AA-B341-3E8C34546336}" srcOrd="0" destOrd="0" presId="urn:microsoft.com/office/officeart/2005/8/layout/vList6"/>
    <dgm:cxn modelId="{1BD8E502-8DFB-4F5D-A7DD-17F325506ABE}" type="presParOf" srcId="{310FFF44-AB69-42AA-B341-3E8C34546336}" destId="{3E72E26E-1BDE-4295-96E1-575A24109E46}" srcOrd="0" destOrd="0" presId="urn:microsoft.com/office/officeart/2005/8/layout/vList6"/>
    <dgm:cxn modelId="{71B071DB-A7DE-47D3-9840-C4E2FA711FCC}" type="presParOf" srcId="{310FFF44-AB69-42AA-B341-3E8C34546336}" destId="{14578B39-C9EE-4CE8-B072-45FE2A6952E9}" srcOrd="1" destOrd="0" presId="urn:microsoft.com/office/officeart/2005/8/layout/vList6"/>
    <dgm:cxn modelId="{BC96CA55-38AF-4AD6-B211-0055B1DEA784}" type="presParOf" srcId="{5885E8E3-ED99-42C4-B303-90338261AD85}" destId="{DE38702E-81E4-42DD-835B-92ECC8120081}" srcOrd="1" destOrd="0" presId="urn:microsoft.com/office/officeart/2005/8/layout/vList6"/>
    <dgm:cxn modelId="{7ADDD780-13C9-424C-B427-9D943ACD78FE}" type="presParOf" srcId="{5885E8E3-ED99-42C4-B303-90338261AD85}" destId="{0E08E06A-2061-405B-A684-82C6B64AE9EE}" srcOrd="2" destOrd="0" presId="urn:microsoft.com/office/officeart/2005/8/layout/vList6"/>
    <dgm:cxn modelId="{70EF9673-E225-487B-BCEA-DC7E2FDCE931}" type="presParOf" srcId="{0E08E06A-2061-405B-A684-82C6B64AE9EE}" destId="{6B85D400-B873-4E90-8E20-9C25F00A4CA7}" srcOrd="0" destOrd="0" presId="urn:microsoft.com/office/officeart/2005/8/layout/vList6"/>
    <dgm:cxn modelId="{D1F168AF-AA88-4F59-995B-4B24E919AF06}" type="presParOf" srcId="{0E08E06A-2061-405B-A684-82C6B64AE9EE}" destId="{77038478-55FF-494A-9055-BF558223EABC}" srcOrd="1" destOrd="0" presId="urn:microsoft.com/office/officeart/2005/8/layout/vList6"/>
    <dgm:cxn modelId="{6A417984-1C00-44AD-840B-1AE49BCB4923}" type="presParOf" srcId="{5885E8E3-ED99-42C4-B303-90338261AD85}" destId="{49D1ADA5-3435-4FF6-A631-74F675B4723C}" srcOrd="3" destOrd="0" presId="urn:microsoft.com/office/officeart/2005/8/layout/vList6"/>
    <dgm:cxn modelId="{88FA88F2-42D7-464B-A2E7-B1E97778723C}" type="presParOf" srcId="{5885E8E3-ED99-42C4-B303-90338261AD85}" destId="{A1BC5188-6AE1-4DCD-82EA-7C78AAFA7587}" srcOrd="4" destOrd="0" presId="urn:microsoft.com/office/officeart/2005/8/layout/vList6"/>
    <dgm:cxn modelId="{83A7C3EF-8E11-4AB4-B399-A1DCDA413256}" type="presParOf" srcId="{A1BC5188-6AE1-4DCD-82EA-7C78AAFA7587}" destId="{B2874E43-1B58-4DD6-85A5-6CBDCED0A267}" srcOrd="0" destOrd="0" presId="urn:microsoft.com/office/officeart/2005/8/layout/vList6"/>
    <dgm:cxn modelId="{940C79EE-98D8-4405-8B18-E9D9CE3ACFBC}" type="presParOf" srcId="{A1BC5188-6AE1-4DCD-82EA-7C78AAFA7587}" destId="{A2854606-8D40-4245-BF44-04716AC9ED9B}" srcOrd="1" destOrd="0" presId="urn:microsoft.com/office/officeart/2005/8/layout/vList6"/>
    <dgm:cxn modelId="{F3A095EC-1AC9-42AA-AB7E-B0C02BBC4635}" type="presParOf" srcId="{5885E8E3-ED99-42C4-B303-90338261AD85}" destId="{3E8621BC-891F-4784-A21A-75AB7DEA6FDE}" srcOrd="5" destOrd="0" presId="urn:microsoft.com/office/officeart/2005/8/layout/vList6"/>
    <dgm:cxn modelId="{F2BC238E-6E04-4DC4-BE86-5411D5C72CB9}" type="presParOf" srcId="{5885E8E3-ED99-42C4-B303-90338261AD85}" destId="{D3064F6E-D589-414F-A405-0B61615D813D}" srcOrd="6" destOrd="0" presId="urn:microsoft.com/office/officeart/2005/8/layout/vList6"/>
    <dgm:cxn modelId="{F3F07631-5C13-4DFE-9D67-4C6737D14906}" type="presParOf" srcId="{D3064F6E-D589-414F-A405-0B61615D813D}" destId="{F82BE14B-26C6-4EAA-9BB7-B31D97EC3799}" srcOrd="0" destOrd="0" presId="urn:microsoft.com/office/officeart/2005/8/layout/vList6"/>
    <dgm:cxn modelId="{8CC922F6-B3DE-4125-8CA7-73A5A1CDA072}" type="presParOf" srcId="{D3064F6E-D589-414F-A405-0B61615D813D}" destId="{47747684-BB3A-4490-B30D-E1354A49647D}" srcOrd="1" destOrd="0" presId="urn:microsoft.com/office/officeart/2005/8/layout/vList6"/>
    <dgm:cxn modelId="{36314F45-5BB5-4B74-98EC-B5FBB943A628}" type="presParOf" srcId="{5885E8E3-ED99-42C4-B303-90338261AD85}" destId="{F528BCCC-5178-4255-8627-2F22E2357EAF}" srcOrd="7" destOrd="0" presId="urn:microsoft.com/office/officeart/2005/8/layout/vList6"/>
    <dgm:cxn modelId="{888CCE02-64B7-4CB9-A619-DB581B88234C}" type="presParOf" srcId="{5885E8E3-ED99-42C4-B303-90338261AD85}" destId="{3D3AFF09-122E-47F3-B514-C8E65744CDE0}" srcOrd="8" destOrd="0" presId="urn:microsoft.com/office/officeart/2005/8/layout/vList6"/>
    <dgm:cxn modelId="{770A1CAF-3D8A-4A64-A46E-DF2FDF83F212}" type="presParOf" srcId="{3D3AFF09-122E-47F3-B514-C8E65744CDE0}" destId="{7B339933-02FF-4714-90A4-353F8C3AD8E5}" srcOrd="0" destOrd="0" presId="urn:microsoft.com/office/officeart/2005/8/layout/vList6"/>
    <dgm:cxn modelId="{FE7655A5-888A-4C04-B713-5A9C05EC9DFE}" type="presParOf" srcId="{3D3AFF09-122E-47F3-B514-C8E65744CDE0}" destId="{6097E396-CCB7-4A12-B0D8-EBB90EBE5B8A}" srcOrd="1" destOrd="0" presId="urn:microsoft.com/office/officeart/2005/8/layout/vList6"/>
    <dgm:cxn modelId="{9D9AEEF5-43D7-4A1B-94DD-CC0581A9E684}" type="presParOf" srcId="{5885E8E3-ED99-42C4-B303-90338261AD85}" destId="{F348F1AF-4767-408E-9072-52BF680E3388}" srcOrd="9" destOrd="0" presId="urn:microsoft.com/office/officeart/2005/8/layout/vList6"/>
    <dgm:cxn modelId="{A890C767-1E1D-43E8-8359-8D18CE21E2BD}" type="presParOf" srcId="{5885E8E3-ED99-42C4-B303-90338261AD85}" destId="{DB737437-660C-491C-AECC-76279209FF76}" srcOrd="10" destOrd="0" presId="urn:microsoft.com/office/officeart/2005/8/layout/vList6"/>
    <dgm:cxn modelId="{6E3D4038-64A2-4017-AAA7-73EF91E9E20B}" type="presParOf" srcId="{DB737437-660C-491C-AECC-76279209FF76}" destId="{4ED13694-86D4-4061-8457-EE6F7CD902A5}" srcOrd="0" destOrd="0" presId="urn:microsoft.com/office/officeart/2005/8/layout/vList6"/>
    <dgm:cxn modelId="{44010819-3560-4577-9518-8E6398F65943}" type="presParOf" srcId="{DB737437-660C-491C-AECC-76279209FF76}" destId="{766CB95F-1FA6-4F70-8599-3C08C61435F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9B9347-7CF8-42C5-AE13-C83E0F66FCE5}">
      <dsp:nvSpPr>
        <dsp:cNvPr id="0" name=""/>
        <dsp:cNvSpPr/>
      </dsp:nvSpPr>
      <dsp:spPr>
        <a:xfrm>
          <a:off x="3179" y="158670"/>
          <a:ext cx="2522152" cy="151329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Data Collection:</a:t>
          </a:r>
          <a:r>
            <a:rPr lang="en-US" sz="1900" b="0" i="0" kern="1200"/>
            <a:t> Gather the dataset you want to explore.</a:t>
          </a:r>
        </a:p>
      </dsp:txBody>
      <dsp:txXfrm>
        <a:off x="3179" y="158670"/>
        <a:ext cx="2522152" cy="1513291"/>
      </dsp:txXfrm>
    </dsp:sp>
    <dsp:sp modelId="{67143BF6-D01F-4F36-A988-3D6046951794}">
      <dsp:nvSpPr>
        <dsp:cNvPr id="0" name=""/>
        <dsp:cNvSpPr/>
      </dsp:nvSpPr>
      <dsp:spPr>
        <a:xfrm>
          <a:off x="2777546" y="158670"/>
          <a:ext cx="2522152" cy="151329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Data Cleaning:</a:t>
          </a:r>
          <a:r>
            <a:rPr lang="en-US" sz="1900" b="0" i="0" kern="1200"/>
            <a:t> Check for and fix any mistakes or missing values in the data.</a:t>
          </a:r>
        </a:p>
      </dsp:txBody>
      <dsp:txXfrm>
        <a:off x="2777546" y="158670"/>
        <a:ext cx="2522152" cy="1513291"/>
      </dsp:txXfrm>
    </dsp:sp>
    <dsp:sp modelId="{73DCDB6E-A29B-42FB-B909-262155A0CBDF}">
      <dsp:nvSpPr>
        <dsp:cNvPr id="0" name=""/>
        <dsp:cNvSpPr/>
      </dsp:nvSpPr>
      <dsp:spPr>
        <a:xfrm>
          <a:off x="5551914" y="158670"/>
          <a:ext cx="2522152" cy="151329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Data Exploration:</a:t>
          </a:r>
          <a:r>
            <a:rPr lang="en-US" sz="1900" b="0" i="0" kern="1200"/>
            <a:t> Get a basic understanding of your data through graphs and summary statistics.</a:t>
          </a:r>
        </a:p>
      </dsp:txBody>
      <dsp:txXfrm>
        <a:off x="5551914" y="158670"/>
        <a:ext cx="2522152" cy="1513291"/>
      </dsp:txXfrm>
    </dsp:sp>
    <dsp:sp modelId="{59EE0CDD-03A4-49C4-ADA1-C666B47BF16A}">
      <dsp:nvSpPr>
        <dsp:cNvPr id="0" name=""/>
        <dsp:cNvSpPr/>
      </dsp:nvSpPr>
      <dsp:spPr>
        <a:xfrm>
          <a:off x="8326282" y="158670"/>
          <a:ext cx="2522152" cy="151329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Feature Engineering:</a:t>
          </a:r>
          <a:r>
            <a:rPr lang="en-US" sz="1900" b="0" i="0" kern="1200"/>
            <a:t> Create new features or transform existing ones if needed.</a:t>
          </a:r>
        </a:p>
      </dsp:txBody>
      <dsp:txXfrm>
        <a:off x="8326282" y="158670"/>
        <a:ext cx="2522152" cy="1513291"/>
      </dsp:txXfrm>
    </dsp:sp>
    <dsp:sp modelId="{E7865D7E-3AF1-4701-94B0-E44491160687}">
      <dsp:nvSpPr>
        <dsp:cNvPr id="0" name=""/>
        <dsp:cNvSpPr/>
      </dsp:nvSpPr>
      <dsp:spPr>
        <a:xfrm>
          <a:off x="3179" y="1924176"/>
          <a:ext cx="2522152" cy="151329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Univariate Analysis:</a:t>
          </a:r>
          <a:r>
            <a:rPr lang="en-US" sz="1900" b="0" i="0" kern="1200"/>
            <a:t> Look at individual variables one by one.</a:t>
          </a:r>
        </a:p>
      </dsp:txBody>
      <dsp:txXfrm>
        <a:off x="3179" y="1924176"/>
        <a:ext cx="2522152" cy="1513291"/>
      </dsp:txXfrm>
    </dsp:sp>
    <dsp:sp modelId="{0DC348BA-1D3C-429D-ACAA-E38869445F24}">
      <dsp:nvSpPr>
        <dsp:cNvPr id="0" name=""/>
        <dsp:cNvSpPr/>
      </dsp:nvSpPr>
      <dsp:spPr>
        <a:xfrm>
          <a:off x="2777546" y="1924176"/>
          <a:ext cx="2522152" cy="151329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Bivariate Analysis:</a:t>
          </a:r>
          <a:r>
            <a:rPr lang="en-US" sz="1900" b="0" i="0" kern="1200"/>
            <a:t> Explore relationships between pairs of variables.</a:t>
          </a:r>
        </a:p>
      </dsp:txBody>
      <dsp:txXfrm>
        <a:off x="2777546" y="1924176"/>
        <a:ext cx="2522152" cy="1513291"/>
      </dsp:txXfrm>
    </dsp:sp>
    <dsp:sp modelId="{FD2BD104-DFA8-4249-9DD3-D41AAB46DF58}">
      <dsp:nvSpPr>
        <dsp:cNvPr id="0" name=""/>
        <dsp:cNvSpPr/>
      </dsp:nvSpPr>
      <dsp:spPr>
        <a:xfrm>
          <a:off x="5551914" y="1924176"/>
          <a:ext cx="2522152" cy="151329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900" b="1" i="0" kern="1200"/>
            <a:t>Multivariate Analysis:</a:t>
          </a:r>
          <a:r>
            <a:rPr lang="pt-BR" sz="1900" b="0" i="0" kern="1200"/>
            <a:t> Examine interactions between multiple variables.</a:t>
          </a:r>
        </a:p>
      </dsp:txBody>
      <dsp:txXfrm>
        <a:off x="5551914" y="1924176"/>
        <a:ext cx="2522152" cy="1513291"/>
      </dsp:txXfrm>
    </dsp:sp>
    <dsp:sp modelId="{D75A1904-1FEC-4D78-A08D-3FD9B4680CB3}">
      <dsp:nvSpPr>
        <dsp:cNvPr id="0" name=""/>
        <dsp:cNvSpPr/>
      </dsp:nvSpPr>
      <dsp:spPr>
        <a:xfrm>
          <a:off x="8326282" y="1924176"/>
          <a:ext cx="2522152" cy="151329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Outlier Detection:</a:t>
          </a:r>
          <a:r>
            <a:rPr lang="en-US" sz="1900" b="0" i="0" kern="1200"/>
            <a:t> Identify and handle any unusual data points that could skew your analysis.</a:t>
          </a:r>
        </a:p>
      </dsp:txBody>
      <dsp:txXfrm>
        <a:off x="8326282" y="1924176"/>
        <a:ext cx="2522152" cy="1513291"/>
      </dsp:txXfrm>
    </dsp:sp>
    <dsp:sp modelId="{12FFD202-DCF2-423B-A505-D86F09EF8D95}">
      <dsp:nvSpPr>
        <dsp:cNvPr id="0" name=""/>
        <dsp:cNvSpPr/>
      </dsp:nvSpPr>
      <dsp:spPr>
        <a:xfrm>
          <a:off x="2777546" y="3689683"/>
          <a:ext cx="2522152" cy="151329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Data Transformation:</a:t>
          </a:r>
          <a:r>
            <a:rPr lang="en-US" sz="1900" b="0" i="0" kern="1200"/>
            <a:t> Prepare the data for modeling by scaling or normalizing it if necessary.</a:t>
          </a:r>
        </a:p>
      </dsp:txBody>
      <dsp:txXfrm>
        <a:off x="2777546" y="3689683"/>
        <a:ext cx="2522152" cy="1513291"/>
      </dsp:txXfrm>
    </dsp:sp>
    <dsp:sp modelId="{9D9C4516-847E-447C-9F85-7A6F88DC1F70}">
      <dsp:nvSpPr>
        <dsp:cNvPr id="0" name=""/>
        <dsp:cNvSpPr/>
      </dsp:nvSpPr>
      <dsp:spPr>
        <a:xfrm>
          <a:off x="5551914" y="3689683"/>
          <a:ext cx="2522152" cy="151329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b="1" i="0" kern="1200"/>
            <a:t>Summary and Insights:</a:t>
          </a:r>
          <a:r>
            <a:rPr lang="en-US" sz="1900" b="0" i="0" kern="1200"/>
            <a:t> Summarize your findings and insights from the EDA process.</a:t>
          </a:r>
        </a:p>
      </dsp:txBody>
      <dsp:txXfrm>
        <a:off x="5551914" y="3689683"/>
        <a:ext cx="2522152" cy="15132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578B39-C9EE-4CE8-B072-45FE2A6952E9}">
      <dsp:nvSpPr>
        <dsp:cNvPr id="0" name=""/>
        <dsp:cNvSpPr/>
      </dsp:nvSpPr>
      <dsp:spPr>
        <a:xfrm>
          <a:off x="3031841" y="492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/>
            <a:t>Vectors; Matric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1"/>
            </a:rPr>
            <a:t>Documentation</a:t>
          </a:r>
          <a:endParaRPr lang="en-US" sz="1600" kern="1200" noProof="0" dirty="0"/>
        </a:p>
      </dsp:txBody>
      <dsp:txXfrm>
        <a:off x="3031841" y="78015"/>
        <a:ext cx="4315194" cy="465137"/>
      </dsp:txXfrm>
    </dsp:sp>
    <dsp:sp modelId="{3E72E26E-1BDE-4295-96E1-575A24109E46}">
      <dsp:nvSpPr>
        <dsp:cNvPr id="0" name=""/>
        <dsp:cNvSpPr/>
      </dsp:nvSpPr>
      <dsp:spPr>
        <a:xfrm>
          <a:off x="0" y="492"/>
          <a:ext cx="3031842" cy="620183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NumPy</a:t>
          </a:r>
        </a:p>
      </dsp:txBody>
      <dsp:txXfrm>
        <a:off x="30275" y="30767"/>
        <a:ext cx="2971292" cy="559633"/>
      </dsp:txXfrm>
    </dsp:sp>
    <dsp:sp modelId="{77038478-55FF-494A-9055-BF558223EABC}">
      <dsp:nvSpPr>
        <dsp:cNvPr id="0" name=""/>
        <dsp:cNvSpPr/>
      </dsp:nvSpPr>
      <dsp:spPr>
        <a:xfrm>
          <a:off x="3031841" y="682693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653777"/>
            <a:satOff val="1854"/>
            <a:lumOff val="302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653777"/>
              <a:satOff val="1854"/>
              <a:lumOff val="3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/>
            <a:t>Data frames; Handling tool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2"/>
            </a:rPr>
            <a:t>Documentation</a:t>
          </a:r>
          <a:endParaRPr lang="en-US" sz="1600" kern="1200" noProof="0" dirty="0"/>
        </a:p>
      </dsp:txBody>
      <dsp:txXfrm>
        <a:off x="3031841" y="760216"/>
        <a:ext cx="4315194" cy="465137"/>
      </dsp:txXfrm>
    </dsp:sp>
    <dsp:sp modelId="{6B85D400-B873-4E90-8E20-9C25F00A4CA7}">
      <dsp:nvSpPr>
        <dsp:cNvPr id="0" name=""/>
        <dsp:cNvSpPr/>
      </dsp:nvSpPr>
      <dsp:spPr>
        <a:xfrm>
          <a:off x="0" y="682693"/>
          <a:ext cx="3031842" cy="620183"/>
        </a:xfrm>
        <a:prstGeom prst="roundRect">
          <a:avLst/>
        </a:prstGeom>
        <a:solidFill>
          <a:schemeClr val="accent4">
            <a:hueOff val="424309"/>
            <a:satOff val="-1859"/>
            <a:lumOff val="18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Pandas</a:t>
          </a:r>
        </a:p>
      </dsp:txBody>
      <dsp:txXfrm>
        <a:off x="30275" y="712968"/>
        <a:ext cx="2971292" cy="559633"/>
      </dsp:txXfrm>
    </dsp:sp>
    <dsp:sp modelId="{A2854606-8D40-4245-BF44-04716AC9ED9B}">
      <dsp:nvSpPr>
        <dsp:cNvPr id="0" name=""/>
        <dsp:cNvSpPr/>
      </dsp:nvSpPr>
      <dsp:spPr>
        <a:xfrm>
          <a:off x="3031841" y="1364894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1307554"/>
            <a:satOff val="3707"/>
            <a:lumOff val="605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1307554"/>
              <a:satOff val="3707"/>
              <a:lumOff val="6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600" b="0" i="0" kern="1200" dirty="0"/>
            <a:t>Mathematical calculations and statistics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3"/>
            </a:rPr>
            <a:t>Documentation</a:t>
          </a:r>
          <a:endParaRPr lang="en-US" sz="1600" kern="1200" noProof="0" dirty="0"/>
        </a:p>
      </dsp:txBody>
      <dsp:txXfrm>
        <a:off x="3031841" y="1442417"/>
        <a:ext cx="4315194" cy="465137"/>
      </dsp:txXfrm>
    </dsp:sp>
    <dsp:sp modelId="{B2874E43-1B58-4DD6-85A5-6CBDCED0A267}">
      <dsp:nvSpPr>
        <dsp:cNvPr id="0" name=""/>
        <dsp:cNvSpPr/>
      </dsp:nvSpPr>
      <dsp:spPr>
        <a:xfrm>
          <a:off x="0" y="1364894"/>
          <a:ext cx="3031842" cy="620183"/>
        </a:xfrm>
        <a:prstGeom prst="roundRect">
          <a:avLst/>
        </a:prstGeom>
        <a:solidFill>
          <a:schemeClr val="accent4">
            <a:hueOff val="848618"/>
            <a:satOff val="-3718"/>
            <a:lumOff val="3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Scipy</a:t>
          </a:r>
        </a:p>
      </dsp:txBody>
      <dsp:txXfrm>
        <a:off x="30275" y="1395169"/>
        <a:ext cx="2971292" cy="559633"/>
      </dsp:txXfrm>
    </dsp:sp>
    <dsp:sp modelId="{47747684-BB3A-4490-B30D-E1354A49647D}">
      <dsp:nvSpPr>
        <dsp:cNvPr id="0" name=""/>
        <dsp:cNvSpPr/>
      </dsp:nvSpPr>
      <dsp:spPr>
        <a:xfrm>
          <a:off x="3031841" y="2047096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1961331"/>
            <a:satOff val="5561"/>
            <a:lumOff val="907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1961331"/>
              <a:satOff val="5561"/>
              <a:lumOff val="90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/>
            <a:t>Charts; Imag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4"/>
            </a:rPr>
            <a:t>Documentation</a:t>
          </a:r>
          <a:endParaRPr lang="en-US" sz="1600" kern="1200" noProof="0" dirty="0"/>
        </a:p>
      </dsp:txBody>
      <dsp:txXfrm>
        <a:off x="3031841" y="2124619"/>
        <a:ext cx="4315194" cy="465137"/>
      </dsp:txXfrm>
    </dsp:sp>
    <dsp:sp modelId="{F82BE14B-26C6-4EAA-9BB7-B31D97EC3799}">
      <dsp:nvSpPr>
        <dsp:cNvPr id="0" name=""/>
        <dsp:cNvSpPr/>
      </dsp:nvSpPr>
      <dsp:spPr>
        <a:xfrm>
          <a:off x="0" y="2047096"/>
          <a:ext cx="3031842" cy="620183"/>
        </a:xfrm>
        <a:prstGeom prst="roundRect">
          <a:avLst/>
        </a:prstGeom>
        <a:solidFill>
          <a:schemeClr val="accent4">
            <a:hueOff val="1272927"/>
            <a:satOff val="-5578"/>
            <a:lumOff val="55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Matplotlib</a:t>
          </a:r>
        </a:p>
      </dsp:txBody>
      <dsp:txXfrm>
        <a:off x="30275" y="2077371"/>
        <a:ext cx="2971292" cy="559633"/>
      </dsp:txXfrm>
    </dsp:sp>
    <dsp:sp modelId="{6097E396-CCB7-4A12-B0D8-EBB90EBE5B8A}">
      <dsp:nvSpPr>
        <dsp:cNvPr id="0" name=""/>
        <dsp:cNvSpPr/>
      </dsp:nvSpPr>
      <dsp:spPr>
        <a:xfrm>
          <a:off x="3031841" y="2729297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2615107"/>
            <a:satOff val="7414"/>
            <a:lumOff val="121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2615107"/>
              <a:satOff val="7414"/>
              <a:lumOff val="12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/>
            <a:t>Enhanced charts; Exploratory Data Analysi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5"/>
            </a:rPr>
            <a:t>Documentation</a:t>
          </a:r>
          <a:endParaRPr lang="en-US" sz="1600" kern="1200" noProof="0" dirty="0"/>
        </a:p>
      </dsp:txBody>
      <dsp:txXfrm>
        <a:off x="3031841" y="2806820"/>
        <a:ext cx="4315194" cy="465137"/>
      </dsp:txXfrm>
    </dsp:sp>
    <dsp:sp modelId="{7B339933-02FF-4714-90A4-353F8C3AD8E5}">
      <dsp:nvSpPr>
        <dsp:cNvPr id="0" name=""/>
        <dsp:cNvSpPr/>
      </dsp:nvSpPr>
      <dsp:spPr>
        <a:xfrm>
          <a:off x="0" y="2729297"/>
          <a:ext cx="3031842" cy="620183"/>
        </a:xfrm>
        <a:prstGeom prst="roundRect">
          <a:avLst/>
        </a:prstGeom>
        <a:solidFill>
          <a:schemeClr val="accent4">
            <a:hueOff val="1697235"/>
            <a:satOff val="-7437"/>
            <a:lumOff val="7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Seaborn</a:t>
          </a:r>
        </a:p>
      </dsp:txBody>
      <dsp:txXfrm>
        <a:off x="30275" y="2759572"/>
        <a:ext cx="2971292" cy="559633"/>
      </dsp:txXfrm>
    </dsp:sp>
    <dsp:sp modelId="{766CB95F-1FA6-4F70-8599-3C08C61435F4}">
      <dsp:nvSpPr>
        <dsp:cNvPr id="0" name=""/>
        <dsp:cNvSpPr/>
      </dsp:nvSpPr>
      <dsp:spPr>
        <a:xfrm>
          <a:off x="3031841" y="3411498"/>
          <a:ext cx="4547763" cy="620183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3268884"/>
            <a:satOff val="9268"/>
            <a:lumOff val="1512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3268884"/>
              <a:satOff val="9268"/>
              <a:lumOff val="15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/>
            <a:t>Machine learni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noProof="0" dirty="0">
              <a:hlinkClick xmlns:r="http://schemas.openxmlformats.org/officeDocument/2006/relationships" r:id="rId6"/>
            </a:rPr>
            <a:t>Documentation</a:t>
          </a:r>
          <a:endParaRPr lang="en-US" sz="1600" kern="1200" noProof="0" dirty="0"/>
        </a:p>
      </dsp:txBody>
      <dsp:txXfrm>
        <a:off x="3031841" y="3489021"/>
        <a:ext cx="4315194" cy="465137"/>
      </dsp:txXfrm>
    </dsp:sp>
    <dsp:sp modelId="{4ED13694-86D4-4061-8457-EE6F7CD902A5}">
      <dsp:nvSpPr>
        <dsp:cNvPr id="0" name=""/>
        <dsp:cNvSpPr/>
      </dsp:nvSpPr>
      <dsp:spPr>
        <a:xfrm>
          <a:off x="0" y="3411498"/>
          <a:ext cx="3031842" cy="620183"/>
        </a:xfrm>
        <a:prstGeom prst="roundRect">
          <a:avLst/>
        </a:prstGeom>
        <a:solidFill>
          <a:schemeClr val="accent4">
            <a:hueOff val="2121544"/>
            <a:satOff val="-9296"/>
            <a:lumOff val="921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noProof="0" dirty="0"/>
            <a:t>Scikit-learn</a:t>
          </a:r>
        </a:p>
      </dsp:txBody>
      <dsp:txXfrm>
        <a:off x="30275" y="3441773"/>
        <a:ext cx="2971292" cy="559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1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47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694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685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976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901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3582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76002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3102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9277349" cy="47053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41725165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83276" y="31133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800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76400"/>
            <a:ext cx="2796541" cy="470534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76400"/>
            <a:ext cx="7916331" cy="4705348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95300" y="3048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5959798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76400"/>
            <a:ext cx="4188949" cy="4705351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4456429" cy="47053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6151557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76400"/>
            <a:ext cx="5305579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76400"/>
            <a:ext cx="5322781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58FF0B8-12F4-41CE-AD69-DD52D41C8B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5F50C2-3A2B-43F6-97B9-A4F3EF05E4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6455791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76400"/>
            <a:ext cx="5305580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76400"/>
            <a:ext cx="5306351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370270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76400"/>
            <a:ext cx="5355165" cy="44446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76400"/>
            <a:ext cx="5349128" cy="40957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0104249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76400"/>
            <a:ext cx="5349129" cy="409575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76400"/>
            <a:ext cx="5349240" cy="409575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2946605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85167"/>
            <a:ext cx="4431857" cy="46965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85167"/>
            <a:ext cx="6240000" cy="46965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56206740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76400"/>
            <a:ext cx="4112468" cy="470535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0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76400"/>
            <a:ext cx="6506348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8120026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88962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88962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81816"/>
            <a:ext cx="3549549" cy="403305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88962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039297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847309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93964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7931908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0322321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375445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685501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38014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38014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2811399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696029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696029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696029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4795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51542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4795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408211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6400"/>
            <a:ext cx="3613149" cy="1969362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125666" y="1693965"/>
            <a:ext cx="356468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312831" y="1674087"/>
            <a:ext cx="3573869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131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306956" y="3832225"/>
            <a:ext cx="357974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125666" y="3832225"/>
            <a:ext cx="356468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98241018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28605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91791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0584849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718144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7458821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027487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572375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676398"/>
            <a:ext cx="4478337" cy="4611396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8D969C3-195F-423F-8E4C-37C200B2784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4492938" cy="46113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9DAEC41-5E91-4677-90FA-D49959E620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A82897B-0778-4692-B5E3-F2C484A54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66751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350E41-AF26-4F49-B6BC-9DCAC9F43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233614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213EE0C-033D-4C02-B0C8-D233FA692F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233614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94159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E7327F-2791-4B24-9B91-F5FBE3C53605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9196DE-9963-4B6C-A61E-54A000354EA1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782167-D1DA-4C0D-BBC4-57710C5426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243073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93FD7A4F-D4C6-456D-861F-60C39B8F01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2430736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680EBF-E1D6-48BA-A3B6-40DCC501362F}"/>
              </a:ext>
            </a:extLst>
          </p:cNvPr>
          <p:cNvSpPr txBox="1"/>
          <p:nvPr userDrawn="1"/>
        </p:nvSpPr>
        <p:spPr>
          <a:xfrm>
            <a:off x="5333930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701441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02920" y="1700213"/>
            <a:ext cx="9130030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69493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02920" y="1700213"/>
            <a:ext cx="9163049" cy="45989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B8A8E6-2D01-4C42-8261-4BB28D9AC08D}"/>
              </a:ext>
            </a:extLst>
          </p:cNvPr>
          <p:cNvSpPr txBox="1"/>
          <p:nvPr userDrawn="1"/>
        </p:nvSpPr>
        <p:spPr>
          <a:xfrm>
            <a:off x="501649" y="6477000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2023 Deloitte Touche </a:t>
            </a: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hmatsu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odos os direitos reservado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AE6E4C-F941-48D5-A8B3-519A5C55C01C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3383F4E-C462-4606-BD33-BCB4C8379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21020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9147174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98F6463-E07D-42A6-B9CB-9A0C4AEEB6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55844DF-7B16-41C6-9FF7-F388D5280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004167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8115300" y="1676400"/>
            <a:ext cx="2921000" cy="4613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0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2920" y="1676400"/>
            <a:ext cx="7383779" cy="4613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B707129-FB11-4B6D-B048-48E42E0A00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93E9B89-D7E9-40C0-B4A5-54D6CFAB4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570492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95300" y="1676400"/>
            <a:ext cx="4465638" cy="47053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76400"/>
            <a:ext cx="4478337" cy="47053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7E11013-C911-423A-906E-42D261542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0EBF8C6-32C5-44C1-B31D-FF2BC2B52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650866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7007" y="208352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7007" y="169067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636674" y="208352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636674" y="169067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54669" y="208352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54669" y="169067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056362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8D61533-1469-4AF4-8FF7-C7742D00F9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A92555C-0F4F-4CCE-BC5E-1127CF994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41732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60225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4491038" cy="430638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5654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8729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06687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B7B9EEC-A4F7-479D-97DE-92F1134243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69C81A7C-B51A-45FD-A7D3-BB1D7A876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912641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320040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017627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49" y="167322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27902D-9908-4D67-926C-6894CE274F0D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EA2D95-453E-4C1E-8B81-C64279A0A990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4F60B5-98B3-40D6-9AA2-0E7920BAD5FB}"/>
              </a:ext>
            </a:extLst>
          </p:cNvPr>
          <p:cNvSpPr txBox="1"/>
          <p:nvPr userDrawn="1"/>
        </p:nvSpPr>
        <p:spPr>
          <a:xfrm>
            <a:off x="6836213" y="6485875"/>
            <a:ext cx="44514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1805613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fogr/Map Gray 11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84575" y="1700212"/>
            <a:ext cx="6048376" cy="4681537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76400"/>
            <a:ext cx="2935600" cy="469416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sz="1300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6C1370-89C2-423C-BC1C-BD1EF2442239}"/>
              </a:ext>
            </a:extLst>
          </p:cNvPr>
          <p:cNvSpPr txBox="1"/>
          <p:nvPr userDrawn="1"/>
        </p:nvSpPr>
        <p:spPr>
          <a:xfrm>
            <a:off x="501649" y="6477000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2023 Deloitte Touche </a:t>
            </a: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hmatsu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odos os direitos reservado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D5CE32-9585-44BD-B4DD-965E8A876A23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34896DF-0965-420A-9264-9CFAA62807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99FCAF2C-1546-487D-8676-9A35CAEF0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FBEA7B-361D-4A0B-8277-605B6B0A8726}"/>
              </a:ext>
            </a:extLst>
          </p:cNvPr>
          <p:cNvSpPr txBox="1"/>
          <p:nvPr userDrawn="1"/>
        </p:nvSpPr>
        <p:spPr>
          <a:xfrm>
            <a:off x="5333930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</a:t>
            </a:r>
            <a:r>
              <a:rPr lang="en-US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61441264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95300" y="4209260"/>
            <a:ext cx="8555638" cy="2172489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501652" y="3048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8204594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767307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5" y="801550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5" y="332058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28800"/>
            <a:ext cx="11184000" cy="4451121"/>
          </a:xfrm>
        </p:spPr>
        <p:txBody>
          <a:bodyPr/>
          <a:lstStyle>
            <a:lvl1pPr marL="92075" indent="-92075">
              <a:defRPr sz="1200">
                <a:solidFill>
                  <a:schemeClr val="accent1"/>
                </a:solidFill>
              </a:defRPr>
            </a:lvl1pPr>
            <a:lvl2pPr marL="352425" indent="-79375">
              <a:defRPr sz="1100">
                <a:solidFill>
                  <a:schemeClr val="accent1"/>
                </a:solidFill>
              </a:defRPr>
            </a:lvl2pPr>
            <a:lvl3pPr>
              <a:defRPr sz="1100">
                <a:solidFill>
                  <a:schemeClr val="accent1"/>
                </a:solidFill>
              </a:defRPr>
            </a:lvl3pPr>
            <a:lvl4pPr marL="352425" indent="-79375">
              <a:defRPr sz="1100">
                <a:solidFill>
                  <a:schemeClr val="accent1"/>
                </a:solidFill>
              </a:defRPr>
            </a:lvl4pPr>
            <a:lvl5pPr marL="352425" indent="-79375"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31" y="6408003"/>
            <a:ext cx="1056117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706" b="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C1D26-A9BD-4BDE-BDD9-08EDBAE96860}" type="slidenum">
              <a:rPr kumimoji="0" lang="en-GB" sz="706" b="0" i="0" u="none" strike="noStrike" kern="1200" cap="none" spc="0" normalizeH="0" baseline="0" noProof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Frutiger Next Pr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06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Frutiger Next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74734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A0BF8-6686-4F02-AB36-9614142B3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B406FE-1165-421C-8D35-96F0CFEA6D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7B22AA-13F6-430C-B5C3-3ED6A132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11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B799C-1B8A-42C0-AD53-6DBEF2EC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C035E-958A-44D5-9920-E77375E9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35822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head, Breadcrumb">
  <p:cSld name="Title, Subhead, Breadcrumb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title"/>
          </p:nvPr>
        </p:nvSpPr>
        <p:spPr>
          <a:xfrm>
            <a:off x="469900" y="504544"/>
            <a:ext cx="11252400" cy="6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700"/>
              <a:buFont typeface="Open Sans Light"/>
              <a:buNone/>
              <a:defRPr sz="3600" b="0" i="0" u="none" strike="noStrike" cap="none">
                <a:solidFill>
                  <a:schemeClr val="dk1"/>
                </a:solidFill>
                <a:latin typeface="Open Sans Light"/>
                <a:ea typeface="Open Sans Light"/>
                <a:cs typeface="Open Sans Light"/>
                <a:sym typeface="Open Sans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body" idx="1"/>
          </p:nvPr>
        </p:nvSpPr>
        <p:spPr>
          <a:xfrm>
            <a:off x="469900" y="1188720"/>
            <a:ext cx="11252400" cy="47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828754" marR="0" lvl="2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2438339" marR="0" lvl="3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3047924" marR="0" lvl="4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body" idx="2"/>
          </p:nvPr>
        </p:nvSpPr>
        <p:spPr>
          <a:xfrm>
            <a:off x="469900" y="365760"/>
            <a:ext cx="11252400" cy="1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700"/>
              <a:buFont typeface="Arial"/>
              <a:buNone/>
              <a:defRPr sz="933" b="1" i="0" u="none" strike="noStrike" cap="none">
                <a:solidFill>
                  <a:srgbClr val="A5A5A5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828754" marR="0" lvl="2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2438339" marR="0" lvl="3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3047924" marR="0" lvl="4" indent="-3809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3657509" marR="0" lvl="5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4267093" marR="0" lvl="6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4876678" marR="0" lvl="7" indent="-406390" algn="l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5486263" marR="0" lvl="8" indent="-406390" algn="l" rtl="0">
              <a:lnSpc>
                <a:spcPct val="100000"/>
              </a:lnSpc>
              <a:spcBef>
                <a:spcPts val="1333"/>
              </a:spcBef>
              <a:spcAft>
                <a:spcPts val="1333"/>
              </a:spcAft>
              <a:buClr>
                <a:schemeClr val="dk1"/>
              </a:buClr>
              <a:buSzPts val="1200"/>
              <a:buFont typeface="Verdana"/>
              <a:buChar char="−"/>
              <a:defRPr sz="16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469496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D16FC303-EA7A-4B9B-A05B-599C72F9F662}"/>
              </a:ext>
            </a:extLst>
          </p:cNvPr>
          <p:cNvSpPr/>
          <p:nvPr userDrawn="1"/>
        </p:nvSpPr>
        <p:spPr>
          <a:xfrm>
            <a:off x="11555698" y="6473952"/>
            <a:ext cx="185948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4F685BB5-DFD6-43C5-B779-7008E5276A89}"/>
              </a:ext>
            </a:extLst>
          </p:cNvPr>
          <p:cNvSpPr txBox="1"/>
          <p:nvPr userDrawn="1"/>
        </p:nvSpPr>
        <p:spPr>
          <a:xfrm>
            <a:off x="501649" y="6477003"/>
            <a:ext cx="3657600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3. Para mais informações, contate a Deloitte </a:t>
            </a:r>
            <a:r>
              <a:rPr lang="pt-B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uche</a:t>
            </a:r>
            <a:r>
              <a:rPr lang="pt-B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2601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2023 Deloitte Touche </a:t>
            </a: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hmatsu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odos os direitos reservado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62968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11217275" y="6542088"/>
            <a:ext cx="914400" cy="914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443666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2023 Deloitte Touche </a:t>
            </a: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hmatsu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odos os direitos reservado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02809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76400"/>
            <a:ext cx="9277349" cy="47053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392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748058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76400"/>
            <a:ext cx="11165416" cy="4705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0681530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" Target="../slides/slide1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" Target="../slides/slide12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" Target="../slides/slide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23780488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©2023 Deloitte Touche </a:t>
            </a:r>
            <a:r>
              <a:rPr kumimoji="0" lang="pt-BR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hmatsu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odos os direitos reservados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85167"/>
            <a:ext cx="11188700" cy="46965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Rectangle 8">
            <a:hlinkClick r:id="rId55" action="ppaction://hlinksldjump"/>
            <a:extLst>
              <a:ext uri="{FF2B5EF4-FFF2-40B4-BE49-F238E27FC236}">
                <a16:creationId xmlns:a16="http://schemas.microsoft.com/office/drawing/2014/main" id="{C2320166-2AED-4CD3-A893-D94919B09F44}"/>
              </a:ext>
            </a:extLst>
          </p:cNvPr>
          <p:cNvSpPr/>
          <p:nvPr userDrawn="1"/>
        </p:nvSpPr>
        <p:spPr bwMode="gray">
          <a:xfrm>
            <a:off x="11287631" y="1017588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hlinkClick r:id="rId56" action="ppaction://hlinksldjump"/>
            <a:extLst>
              <a:ext uri="{FF2B5EF4-FFF2-40B4-BE49-F238E27FC236}">
                <a16:creationId xmlns:a16="http://schemas.microsoft.com/office/drawing/2014/main" id="{E5C10B32-E2D1-4E1E-AF8B-C1CB0642773B}"/>
              </a:ext>
            </a:extLst>
          </p:cNvPr>
          <p:cNvSpPr/>
          <p:nvPr userDrawn="1"/>
        </p:nvSpPr>
        <p:spPr bwMode="gray">
          <a:xfrm>
            <a:off x="11287631" y="161824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rId57" action="ppaction://hlinksldjump"/>
            <a:extLst>
              <a:ext uri="{FF2B5EF4-FFF2-40B4-BE49-F238E27FC236}">
                <a16:creationId xmlns:a16="http://schemas.microsoft.com/office/drawing/2014/main" id="{77270737-F2AF-4A5D-B2EE-60D8BD21B026}"/>
              </a:ext>
            </a:extLst>
          </p:cNvPr>
          <p:cNvSpPr/>
          <p:nvPr userDrawn="1"/>
        </p:nvSpPr>
        <p:spPr bwMode="gray">
          <a:xfrm>
            <a:off x="11287631" y="219872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hlinkClick r:id="" action="ppaction://noaction"/>
            <a:extLst>
              <a:ext uri="{FF2B5EF4-FFF2-40B4-BE49-F238E27FC236}">
                <a16:creationId xmlns:a16="http://schemas.microsoft.com/office/drawing/2014/main" id="{B2DA55B8-7FB5-415F-98A3-9E2DD1DAAA41}"/>
              </a:ext>
            </a:extLst>
          </p:cNvPr>
          <p:cNvSpPr/>
          <p:nvPr userDrawn="1"/>
        </p:nvSpPr>
        <p:spPr bwMode="gray">
          <a:xfrm>
            <a:off x="11287631" y="281250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5F6546-8B6E-49C6-9457-A94531976ED1}"/>
              </a:ext>
            </a:extLst>
          </p:cNvPr>
          <p:cNvSpPr txBox="1"/>
          <p:nvPr userDrawn="1"/>
        </p:nvSpPr>
        <p:spPr>
          <a:xfrm>
            <a:off x="11382377" y="6477001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EE45B84-5546-410E-BFA9-0EE3C4CCC87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1649" y="304800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153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41" r:id="rId2"/>
    <p:sldLayoutId id="2147484242" r:id="rId3"/>
    <p:sldLayoutId id="2147484243" r:id="rId4"/>
    <p:sldLayoutId id="2147484244" r:id="rId5"/>
    <p:sldLayoutId id="2147484245" r:id="rId6"/>
    <p:sldLayoutId id="2147484246" r:id="rId7"/>
    <p:sldLayoutId id="2147484247" r:id="rId8"/>
    <p:sldLayoutId id="2147484248" r:id="rId9"/>
    <p:sldLayoutId id="2147484249" r:id="rId10"/>
    <p:sldLayoutId id="2147484250" r:id="rId11"/>
    <p:sldLayoutId id="2147484251" r:id="rId12"/>
    <p:sldLayoutId id="2147484252" r:id="rId13"/>
    <p:sldLayoutId id="2147484253" r:id="rId14"/>
    <p:sldLayoutId id="2147484254" r:id="rId15"/>
    <p:sldLayoutId id="2147484255" r:id="rId16"/>
    <p:sldLayoutId id="2147484256" r:id="rId17"/>
    <p:sldLayoutId id="2147484257" r:id="rId18"/>
    <p:sldLayoutId id="2147484258" r:id="rId19"/>
    <p:sldLayoutId id="2147484259" r:id="rId20"/>
    <p:sldLayoutId id="2147484260" r:id="rId21"/>
    <p:sldLayoutId id="2147484261" r:id="rId22"/>
    <p:sldLayoutId id="2147484262" r:id="rId23"/>
    <p:sldLayoutId id="2147484263" r:id="rId24"/>
    <p:sldLayoutId id="2147484264" r:id="rId25"/>
    <p:sldLayoutId id="2147484265" r:id="rId26"/>
    <p:sldLayoutId id="2147484266" r:id="rId27"/>
    <p:sldLayoutId id="2147484267" r:id="rId28"/>
    <p:sldLayoutId id="2147484268" r:id="rId29"/>
    <p:sldLayoutId id="2147484269" r:id="rId30"/>
    <p:sldLayoutId id="2147484287" r:id="rId31"/>
    <p:sldLayoutId id="2147484288" r:id="rId32"/>
    <p:sldLayoutId id="2147484289" r:id="rId33"/>
    <p:sldLayoutId id="2147484290" r:id="rId34"/>
    <p:sldLayoutId id="2147484291" r:id="rId35"/>
    <p:sldLayoutId id="2147484292" r:id="rId36"/>
    <p:sldLayoutId id="2147484293" r:id="rId37"/>
    <p:sldLayoutId id="2147484294" r:id="rId38"/>
    <p:sldLayoutId id="2147484295" r:id="rId39"/>
    <p:sldLayoutId id="2147484296" r:id="rId40"/>
    <p:sldLayoutId id="2147484303" r:id="rId41"/>
    <p:sldLayoutId id="2147484302" r:id="rId42"/>
    <p:sldLayoutId id="2147484060" r:id="rId43"/>
    <p:sldLayoutId id="2147484270" r:id="rId44"/>
    <p:sldLayoutId id="2147484271" r:id="rId45"/>
    <p:sldLayoutId id="2147484316" r:id="rId46"/>
    <p:sldLayoutId id="2147484321" r:id="rId47"/>
    <p:sldLayoutId id="2147484324" r:id="rId48"/>
    <p:sldLayoutId id="2147484328" r:id="rId49"/>
    <p:sldLayoutId id="2147484329" r:id="rId5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020">
          <p15:clr>
            <a:srgbClr val="F26B43"/>
          </p15:clr>
        </p15:guide>
        <p15:guide id="8" orient="horz" pos="4080">
          <p15:clr>
            <a:srgbClr val="F26B43"/>
          </p15:clr>
        </p15:guide>
        <p15:guide id="27" pos="7368">
          <p15:clr>
            <a:srgbClr val="F26B43"/>
          </p15:clr>
        </p15:guide>
        <p15:guide id="51" orient="horz" pos="4081" userDrawn="1">
          <p15:clr>
            <a:srgbClr val="A4A3A4"/>
          </p15:clr>
        </p15:guide>
        <p15:guide id="52" pos="312" userDrawn="1">
          <p15:clr>
            <a:srgbClr val="F26B43"/>
          </p15:clr>
        </p15:guide>
        <p15:guide id="53" pos="1392" userDrawn="1">
          <p15:clr>
            <a:srgbClr val="F26B43"/>
          </p15:clr>
        </p15:guide>
        <p15:guide id="54" pos="1512" userDrawn="1">
          <p15:clr>
            <a:srgbClr val="F26B43"/>
          </p15:clr>
        </p15:guide>
        <p15:guide id="55" pos="2592" userDrawn="1">
          <p15:clr>
            <a:srgbClr val="F26B43"/>
          </p15:clr>
        </p15:guide>
        <p15:guide id="56" pos="2712" userDrawn="1">
          <p15:clr>
            <a:srgbClr val="F26B43"/>
          </p15:clr>
        </p15:guide>
        <p15:guide id="57" pos="3840" userDrawn="1">
          <p15:clr>
            <a:srgbClr val="F26B43"/>
          </p15:clr>
        </p15:guide>
        <p15:guide id="58" pos="3768" userDrawn="1">
          <p15:clr>
            <a:srgbClr val="F26B43"/>
          </p15:clr>
        </p15:guide>
        <p15:guide id="59" pos="3912" userDrawn="1">
          <p15:clr>
            <a:srgbClr val="F26B43"/>
          </p15:clr>
        </p15:guide>
        <p15:guide id="60" pos="5112" userDrawn="1">
          <p15:clr>
            <a:srgbClr val="F26B43"/>
          </p15:clr>
        </p15:guide>
        <p15:guide id="61" pos="6168" userDrawn="1">
          <p15:clr>
            <a:srgbClr val="F26B43"/>
          </p15:clr>
        </p15:guide>
        <p15:guide id="62" pos="6288" userDrawn="1">
          <p15:clr>
            <a:srgbClr val="F26B43"/>
          </p15:clr>
        </p15:guide>
        <p15:guide id="63" pos="4968" userDrawn="1">
          <p15:clr>
            <a:srgbClr val="F26B43"/>
          </p15:clr>
        </p15:guide>
        <p15:guide id="64" orient="horz" pos="192" userDrawn="1">
          <p15:clr>
            <a:srgbClr val="F26B43"/>
          </p15:clr>
        </p15:guide>
        <p15:guide id="65" orient="horz" pos="1056" userDrawn="1">
          <p15:clr>
            <a:srgbClr val="F26B43"/>
          </p15:clr>
        </p15:guide>
        <p15:guide id="66" orient="horz" pos="2232" userDrawn="1">
          <p15:clr>
            <a:srgbClr val="F26B43"/>
          </p15:clr>
        </p15:guide>
        <p15:guide id="67" orient="horz" pos="40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mlu-explain.github.io/" TargetMode="Externa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ky, factory, building, outdoor&#10;&#10;Description automatically generated">
            <a:extLst>
              <a:ext uri="{FF2B5EF4-FFF2-40B4-BE49-F238E27FC236}">
                <a16:creationId xmlns:a16="http://schemas.microsoft.com/office/drawing/2014/main" id="{391B6FD3-277F-4530-A632-81F51EAD9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251"/>
            <a:ext cx="12192000" cy="688551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9266C1F-419C-4B49-AB03-1F15E7E509B3}"/>
              </a:ext>
            </a:extLst>
          </p:cNvPr>
          <p:cNvSpPr/>
          <p:nvPr/>
        </p:nvSpPr>
        <p:spPr bwMode="gray">
          <a:xfrm>
            <a:off x="-1063776" y="-177789"/>
            <a:ext cx="14491195" cy="744124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89000"/>
                  <a:alpha val="0"/>
                </a:schemeClr>
              </a:gs>
              <a:gs pos="23000">
                <a:schemeClr val="accent4">
                  <a:lumMod val="89000"/>
                  <a:alpha val="15000"/>
                </a:schemeClr>
              </a:gs>
              <a:gs pos="47000">
                <a:schemeClr val="tx1">
                  <a:alpha val="47000"/>
                </a:schemeClr>
              </a:gs>
              <a:gs pos="100000">
                <a:schemeClr val="tx1">
                  <a:alpha val="83000"/>
                </a:schemeClr>
              </a:gs>
            </a:gsLst>
            <a:lin ang="66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4D1810A-FC3B-4A6F-91CD-787EC44A5401}"/>
              </a:ext>
            </a:extLst>
          </p:cNvPr>
          <p:cNvSpPr/>
          <p:nvPr/>
        </p:nvSpPr>
        <p:spPr bwMode="gray">
          <a:xfrm rot="10800000">
            <a:off x="9231810" y="-847189"/>
            <a:ext cx="1165078" cy="54181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89000"/>
                  <a:alpha val="0"/>
                </a:schemeClr>
              </a:gs>
              <a:gs pos="42000">
                <a:schemeClr val="accent4">
                  <a:lumMod val="89000"/>
                  <a:alpha val="15000"/>
                </a:schemeClr>
              </a:gs>
              <a:gs pos="76000">
                <a:schemeClr val="tx1">
                  <a:alpha val="47000"/>
                </a:schemeClr>
              </a:gs>
              <a:gs pos="97000">
                <a:schemeClr val="tx1"/>
              </a:gs>
            </a:gsLst>
            <a:lin ang="126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E07E8C-2E1D-4468-8226-5B3FE27029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4099" y="5861304"/>
            <a:ext cx="4446269" cy="556714"/>
          </a:xfrm>
        </p:spPr>
        <p:txBody>
          <a:bodyPr/>
          <a:lstStyle/>
          <a:p>
            <a:r>
              <a:rPr lang="en-US" dirty="0"/>
              <a:t>April  202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DB3738-947A-474A-B66F-B221CD9AB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49" y="4425419"/>
            <a:ext cx="7275464" cy="1656771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en-US" sz="3600" b="1" i="0" dirty="0">
                <a:solidFill>
                  <a:schemeClr val="bg1"/>
                </a:solidFill>
                <a:effectLst/>
                <a:latin typeface="-apple-system"/>
              </a:rPr>
              <a:t>Citizen Data Scientist – Part 1 | </a:t>
            </a:r>
            <a:r>
              <a:rPr lang="en-US" sz="3600" b="1" dirty="0">
                <a:solidFill>
                  <a:schemeClr val="bg1"/>
                </a:solidFill>
                <a:latin typeface="-apple-system"/>
              </a:rPr>
              <a:t>Class 5</a:t>
            </a:r>
            <a:br>
              <a:rPr lang="en-US" sz="3600" b="1" dirty="0">
                <a:solidFill>
                  <a:schemeClr val="bg1"/>
                </a:solidFill>
                <a:latin typeface="-apple-system"/>
              </a:rPr>
            </a:br>
            <a:r>
              <a:rPr lang="en-US" sz="3600" b="1" dirty="0">
                <a:solidFill>
                  <a:schemeClr val="bg1"/>
                </a:solidFill>
                <a:latin typeface="-apple-system"/>
              </a:rPr>
              <a:t>EDA – Exploratory Data Analysis</a:t>
            </a:r>
            <a:br>
              <a:rPr lang="en-US" sz="2000" b="1" i="0" dirty="0">
                <a:solidFill>
                  <a:schemeClr val="bg1"/>
                </a:solidFill>
                <a:effectLst/>
                <a:latin typeface="-apple-system"/>
              </a:rPr>
            </a:br>
            <a:r>
              <a:rPr lang="en-US" sz="3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br>
              <a:rPr lang="en-US" sz="3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endParaRPr lang="en-US" sz="3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78AB53D-ADB1-4CD5-9212-4159C7674CCD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D0CA88C7-1E44-4BB9-8D0A-DB5961A6E6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FA01FA3-BCA1-4594-8D24-59A0D95B6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E8829B3A-1282-435A-86FA-09E70E606A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FD023A96-AE32-468B-A3A3-CFB524455C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9D5B9DD2-95D4-4C34-8E70-743D7980C1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49FD3F71-3E36-4ABE-8703-F93A9CF13D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C41A0AD-3980-46B5-93AB-CE0FAABB0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E9579FE3-2E70-4EF8-8BB3-40B6793CD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FFFE329C-3917-4F0A-B997-F5A121B1C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86476E0E-1087-4D40-90F0-DB64EA48A7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90991C32-C633-4158-9F62-A7B1C8FF8A6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C1F3B32-029D-A2C2-513F-128EE5FED765}"/>
              </a:ext>
            </a:extLst>
          </p:cNvPr>
          <p:cNvSpPr txBox="1"/>
          <p:nvPr/>
        </p:nvSpPr>
        <p:spPr>
          <a:xfrm>
            <a:off x="535887" y="5382011"/>
            <a:ext cx="21575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800" dirty="0">
                <a:solidFill>
                  <a:schemeClr val="accent5"/>
                </a:solidFill>
                <a:latin typeface="Calibri Light" panose="020F0302020204030204" pitchFamily="34" charset="0"/>
                <a:ea typeface="Open Sans" panose="020B0606030504020204" pitchFamily="34" charset="0"/>
              </a:rPr>
              <a:t>Instructor: Kamilla Silva</a:t>
            </a:r>
            <a:endParaRPr lang="pt-BR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89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unnel with lights&#10;&#10;Description automatically generated with low confidence">
            <a:extLst>
              <a:ext uri="{FF2B5EF4-FFF2-40B4-BE49-F238E27FC236}">
                <a16:creationId xmlns:a16="http://schemas.microsoft.com/office/drawing/2014/main" id="{7AE19FBC-33A4-C506-DC39-BF0BF0966A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222" y="73891"/>
            <a:ext cx="9355777" cy="6234546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21129" y="2975937"/>
            <a:ext cx="4793996" cy="1285075"/>
          </a:xfrm>
        </p:spPr>
        <p:txBody>
          <a:bodyPr/>
          <a:lstStyle/>
          <a:p>
            <a:r>
              <a:rPr lang="en-US" sz="36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DA - Hands On</a:t>
            </a:r>
          </a:p>
        </p:txBody>
      </p:sp>
    </p:spTree>
    <p:extLst>
      <p:ext uri="{BB962C8B-B14F-4D97-AF65-F5344CB8AC3E}">
        <p14:creationId xmlns:p14="http://schemas.microsoft.com/office/powerpoint/2010/main" val="157021932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Descriptive Analys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40CA93-733A-F831-C8C3-181E6139FE58}"/>
              </a:ext>
            </a:extLst>
          </p:cNvPr>
          <p:cNvSpPr txBox="1"/>
          <p:nvPr/>
        </p:nvSpPr>
        <p:spPr>
          <a:xfrm>
            <a:off x="683491" y="954460"/>
            <a:ext cx="17641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dirty="0" err="1">
                <a:solidFill>
                  <a:srgbClr val="313131"/>
                </a:solidFill>
              </a:rPr>
              <a:t>with</a:t>
            </a:r>
            <a:r>
              <a:rPr lang="pt-BR" sz="1400" dirty="0">
                <a:solidFill>
                  <a:srgbClr val="313131"/>
                </a:solidFill>
              </a:rPr>
              <a:t> Panda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AA83F5-7495-1869-BAA0-D5A8FD319374}"/>
              </a:ext>
            </a:extLst>
          </p:cNvPr>
          <p:cNvSpPr txBox="1"/>
          <p:nvPr/>
        </p:nvSpPr>
        <p:spPr>
          <a:xfrm>
            <a:off x="794327" y="2189017"/>
            <a:ext cx="5780209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dirty="0" err="1">
                <a:solidFill>
                  <a:srgbClr val="313131"/>
                </a:solidFill>
              </a:rPr>
              <a:t>Understanding</a:t>
            </a:r>
            <a:r>
              <a:rPr lang="pt-BR" dirty="0">
                <a:solidFill>
                  <a:srgbClr val="313131"/>
                </a:solidFill>
              </a:rPr>
              <a:t> data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dirty="0">
                <a:solidFill>
                  <a:srgbClr val="313131"/>
                </a:solidFill>
              </a:rPr>
              <a:t>Data </a:t>
            </a:r>
            <a:r>
              <a:rPr lang="pt-BR" dirty="0" err="1">
                <a:solidFill>
                  <a:srgbClr val="313131"/>
                </a:solidFill>
              </a:rPr>
              <a:t>Summarization</a:t>
            </a:r>
            <a:endParaRPr lang="pt-BR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dirty="0">
                <a:solidFill>
                  <a:srgbClr val="313131"/>
                </a:solidFill>
              </a:rPr>
              <a:t>Data </a:t>
            </a:r>
            <a:r>
              <a:rPr lang="pt-BR" dirty="0" err="1">
                <a:solidFill>
                  <a:srgbClr val="313131"/>
                </a:solidFill>
              </a:rPr>
              <a:t>Exploration</a:t>
            </a:r>
            <a:endParaRPr lang="pt-BR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dirty="0" err="1">
                <a:solidFill>
                  <a:srgbClr val="313131"/>
                </a:solidFill>
              </a:rPr>
              <a:t>Quality</a:t>
            </a:r>
            <a:r>
              <a:rPr lang="pt-BR" dirty="0">
                <a:solidFill>
                  <a:srgbClr val="313131"/>
                </a:solidFill>
              </a:rPr>
              <a:t> Assess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BC5FCB-5F61-FDAD-2175-0A0D2E3E3197}"/>
              </a:ext>
            </a:extLst>
          </p:cNvPr>
          <p:cNvSpPr txBox="1"/>
          <p:nvPr/>
        </p:nvSpPr>
        <p:spPr>
          <a:xfrm>
            <a:off x="424872" y="1666453"/>
            <a:ext cx="34451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000" dirty="0" err="1">
                <a:solidFill>
                  <a:srgbClr val="313131"/>
                </a:solidFill>
              </a:rPr>
              <a:t>Main</a:t>
            </a:r>
            <a:r>
              <a:rPr lang="pt-BR" sz="2000" dirty="0">
                <a:solidFill>
                  <a:srgbClr val="313131"/>
                </a:solidFill>
              </a:rPr>
              <a:t> </a:t>
            </a:r>
            <a:r>
              <a:rPr lang="pt-BR" sz="2000" dirty="0" err="1">
                <a:solidFill>
                  <a:srgbClr val="313131"/>
                </a:solidFill>
              </a:rPr>
              <a:t>objectives</a:t>
            </a:r>
            <a:r>
              <a:rPr lang="pt-BR" sz="2000" dirty="0">
                <a:solidFill>
                  <a:srgbClr val="313131"/>
                </a:solidFill>
              </a:rPr>
              <a:t>:</a:t>
            </a:r>
          </a:p>
        </p:txBody>
      </p:sp>
      <p:pic>
        <p:nvPicPr>
          <p:cNvPr id="2050" name="Picture 2" descr="A Complete Guide for Descriptive Analysis">
            <a:extLst>
              <a:ext uri="{FF2B5EF4-FFF2-40B4-BE49-F238E27FC236}">
                <a16:creationId xmlns:a16="http://schemas.microsoft.com/office/drawing/2014/main" id="{D1B675AF-C56C-F384-0E03-34BA05A35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255" y="828921"/>
            <a:ext cx="6010180" cy="3650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04519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Plot Visualiz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FFDB20-032B-273A-70ED-5B8CF4A9A9A2}"/>
              </a:ext>
            </a:extLst>
          </p:cNvPr>
          <p:cNvSpPr txBox="1"/>
          <p:nvPr/>
        </p:nvSpPr>
        <p:spPr>
          <a:xfrm>
            <a:off x="683491" y="954460"/>
            <a:ext cx="17641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dirty="0" err="1">
                <a:solidFill>
                  <a:srgbClr val="313131"/>
                </a:solidFill>
              </a:rPr>
              <a:t>with</a:t>
            </a:r>
            <a:r>
              <a:rPr lang="pt-BR" sz="1400" dirty="0">
                <a:solidFill>
                  <a:srgbClr val="313131"/>
                </a:solidFill>
              </a:rPr>
              <a:t> </a:t>
            </a:r>
            <a:r>
              <a:rPr lang="pt-BR" sz="1400" dirty="0" err="1">
                <a:solidFill>
                  <a:srgbClr val="313131"/>
                </a:solidFill>
              </a:rPr>
              <a:t>Seaborn</a:t>
            </a:r>
            <a:endParaRPr lang="pt-BR" sz="1400" dirty="0">
              <a:solidFill>
                <a:srgbClr val="31313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E2DAEB-36BA-D642-95B9-FFD51152775E}"/>
              </a:ext>
            </a:extLst>
          </p:cNvPr>
          <p:cNvSpPr txBox="1"/>
          <p:nvPr/>
        </p:nvSpPr>
        <p:spPr>
          <a:xfrm>
            <a:off x="794327" y="2189017"/>
            <a:ext cx="578020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dirty="0" err="1">
                <a:solidFill>
                  <a:srgbClr val="313131"/>
                </a:solidFill>
              </a:rPr>
              <a:t>Understanding</a:t>
            </a:r>
            <a:r>
              <a:rPr lang="pt-BR" sz="1600" dirty="0">
                <a:solidFill>
                  <a:srgbClr val="313131"/>
                </a:solidFill>
              </a:rPr>
              <a:t> data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dirty="0" err="1">
                <a:solidFill>
                  <a:srgbClr val="313131"/>
                </a:solidFill>
              </a:rPr>
              <a:t>Indentifying</a:t>
            </a:r>
            <a:r>
              <a:rPr lang="pt-BR" sz="1600" dirty="0">
                <a:solidFill>
                  <a:srgbClr val="313131"/>
                </a:solidFill>
              </a:rPr>
              <a:t> </a:t>
            </a:r>
            <a:r>
              <a:rPr lang="pt-BR" sz="1600" dirty="0" err="1">
                <a:solidFill>
                  <a:srgbClr val="313131"/>
                </a:solidFill>
              </a:rPr>
              <a:t>Relationships</a:t>
            </a:r>
            <a:endParaRPr lang="pt-BR" sz="16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dirty="0" err="1">
                <a:solidFill>
                  <a:srgbClr val="313131"/>
                </a:solidFill>
              </a:rPr>
              <a:t>Spotting</a:t>
            </a:r>
            <a:r>
              <a:rPr lang="pt-BR" sz="1600" dirty="0">
                <a:solidFill>
                  <a:srgbClr val="313131"/>
                </a:solidFill>
              </a:rPr>
              <a:t> </a:t>
            </a:r>
            <a:r>
              <a:rPr lang="pt-BR" sz="1600" dirty="0" err="1">
                <a:solidFill>
                  <a:srgbClr val="313131"/>
                </a:solidFill>
              </a:rPr>
              <a:t>trends</a:t>
            </a:r>
            <a:r>
              <a:rPr lang="pt-BR" sz="1600" dirty="0">
                <a:solidFill>
                  <a:srgbClr val="313131"/>
                </a:solidFill>
              </a:rPr>
              <a:t> and </a:t>
            </a:r>
            <a:r>
              <a:rPr lang="pt-BR" sz="1600" dirty="0" err="1">
                <a:solidFill>
                  <a:srgbClr val="313131"/>
                </a:solidFill>
              </a:rPr>
              <a:t>patterns</a:t>
            </a:r>
            <a:endParaRPr lang="pt-BR" sz="16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dirty="0" err="1">
                <a:solidFill>
                  <a:srgbClr val="313131"/>
                </a:solidFill>
              </a:rPr>
              <a:t>Comparing</a:t>
            </a:r>
            <a:r>
              <a:rPr lang="pt-BR" sz="1600" dirty="0">
                <a:solidFill>
                  <a:srgbClr val="313131"/>
                </a:solidFill>
              </a:rPr>
              <a:t> </a:t>
            </a:r>
            <a:r>
              <a:rPr lang="pt-BR" sz="1600" dirty="0" err="1">
                <a:solidFill>
                  <a:srgbClr val="313131"/>
                </a:solidFill>
              </a:rPr>
              <a:t>groups</a:t>
            </a:r>
            <a:r>
              <a:rPr lang="pt-BR" sz="1600" dirty="0">
                <a:solidFill>
                  <a:srgbClr val="313131"/>
                </a:solidFill>
              </a:rPr>
              <a:t> </a:t>
            </a:r>
            <a:r>
              <a:rPr lang="pt-BR" sz="1600" dirty="0" err="1">
                <a:solidFill>
                  <a:srgbClr val="313131"/>
                </a:solidFill>
              </a:rPr>
              <a:t>or</a:t>
            </a:r>
            <a:r>
              <a:rPr lang="pt-BR" sz="1600" dirty="0">
                <a:solidFill>
                  <a:srgbClr val="313131"/>
                </a:solidFill>
              </a:rPr>
              <a:t> </a:t>
            </a:r>
            <a:r>
              <a:rPr lang="pt-BR" sz="1600" dirty="0" err="1">
                <a:solidFill>
                  <a:srgbClr val="313131"/>
                </a:solidFill>
              </a:rPr>
              <a:t>categories</a:t>
            </a:r>
            <a:endParaRPr lang="pt-BR" sz="16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600" dirty="0" err="1">
                <a:solidFill>
                  <a:srgbClr val="313131"/>
                </a:solidFill>
              </a:rPr>
              <a:t>Comunicating</a:t>
            </a:r>
            <a:r>
              <a:rPr lang="pt-BR" sz="1600" dirty="0">
                <a:solidFill>
                  <a:srgbClr val="313131"/>
                </a:solidFill>
              </a:rPr>
              <a:t> Insigh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AA5A6E-151F-2D82-5A2E-CB15BF2322AA}"/>
              </a:ext>
            </a:extLst>
          </p:cNvPr>
          <p:cNvSpPr txBox="1"/>
          <p:nvPr/>
        </p:nvSpPr>
        <p:spPr>
          <a:xfrm>
            <a:off x="424872" y="1666453"/>
            <a:ext cx="344516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Main</a:t>
            </a:r>
            <a:r>
              <a:rPr lang="pt-BR" dirty="0">
                <a:solidFill>
                  <a:srgbClr val="313131"/>
                </a:solidFill>
              </a:rPr>
              <a:t> </a:t>
            </a:r>
            <a:r>
              <a:rPr lang="pt-BR" dirty="0" err="1">
                <a:solidFill>
                  <a:srgbClr val="313131"/>
                </a:solidFill>
              </a:rPr>
              <a:t>objectives</a:t>
            </a:r>
            <a:r>
              <a:rPr lang="pt-BR" dirty="0">
                <a:solidFill>
                  <a:srgbClr val="313131"/>
                </a:solidFill>
              </a:rPr>
              <a:t>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D2F2AB-343C-F6F2-849F-582CB35652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4536" y="432836"/>
            <a:ext cx="5481795" cy="54348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6BDA2F0-2CFF-AE93-354C-D7A5A27C68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431" y="1018899"/>
            <a:ext cx="2790802" cy="190133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CDD5B9A-5D3B-A739-2A8F-155EF7A21C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3677" y="3416784"/>
            <a:ext cx="2811556" cy="191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38821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Correl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B0A9C8-C845-4E11-5A0A-0BF1451B3C31}"/>
              </a:ext>
            </a:extLst>
          </p:cNvPr>
          <p:cNvSpPr txBox="1"/>
          <p:nvPr/>
        </p:nvSpPr>
        <p:spPr>
          <a:xfrm>
            <a:off x="683491" y="954460"/>
            <a:ext cx="38330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dirty="0" err="1">
                <a:solidFill>
                  <a:srgbClr val="313131"/>
                </a:solidFill>
              </a:rPr>
              <a:t>with</a:t>
            </a:r>
            <a:r>
              <a:rPr lang="pt-BR" sz="1400" dirty="0">
                <a:solidFill>
                  <a:srgbClr val="313131"/>
                </a:solidFill>
              </a:rPr>
              <a:t> </a:t>
            </a:r>
            <a:r>
              <a:rPr lang="pt-BR" sz="1400" dirty="0" err="1">
                <a:solidFill>
                  <a:srgbClr val="313131"/>
                </a:solidFill>
              </a:rPr>
              <a:t>Stats</a:t>
            </a:r>
            <a:r>
              <a:rPr lang="pt-BR" sz="1400" dirty="0">
                <a:solidFill>
                  <a:srgbClr val="313131"/>
                </a:solidFill>
              </a:rPr>
              <a:t> </a:t>
            </a:r>
            <a:r>
              <a:rPr lang="pt-BR" sz="1400" dirty="0" err="1">
                <a:solidFill>
                  <a:srgbClr val="313131"/>
                </a:solidFill>
              </a:rPr>
              <a:t>using</a:t>
            </a:r>
            <a:r>
              <a:rPr lang="pt-BR" sz="1400" dirty="0">
                <a:solidFill>
                  <a:srgbClr val="313131"/>
                </a:solidFill>
              </a:rPr>
              <a:t> </a:t>
            </a:r>
            <a:r>
              <a:rPr lang="pt-BR" sz="1400" dirty="0" err="1">
                <a:solidFill>
                  <a:srgbClr val="313131"/>
                </a:solidFill>
              </a:rPr>
              <a:t>Pearson’s</a:t>
            </a:r>
            <a:r>
              <a:rPr lang="pt-BR" sz="1400" dirty="0">
                <a:solidFill>
                  <a:srgbClr val="313131"/>
                </a:solidFill>
              </a:rPr>
              <a:t> </a:t>
            </a:r>
            <a:r>
              <a:rPr lang="pt-BR" sz="1400" dirty="0" err="1">
                <a:solidFill>
                  <a:srgbClr val="313131"/>
                </a:solidFill>
              </a:rPr>
              <a:t>Correlation</a:t>
            </a:r>
            <a:r>
              <a:rPr lang="pt-BR" sz="1400" dirty="0">
                <a:solidFill>
                  <a:srgbClr val="313131"/>
                </a:solidFill>
              </a:rPr>
              <a:t> and ANOV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72C10C-7E46-2AEF-BFF5-ED98A8694ED6}"/>
              </a:ext>
            </a:extLst>
          </p:cNvPr>
          <p:cNvSpPr txBox="1"/>
          <p:nvPr/>
        </p:nvSpPr>
        <p:spPr>
          <a:xfrm>
            <a:off x="319381" y="1357523"/>
            <a:ext cx="724520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Pearson's Correlation Analysis</a:t>
            </a: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Pearson's correlation analysis is used to measure the strength and direction of the linear relationship between two continuous variable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ts main objective is to assess the degree of association between variables, indicating how changes in one variable are related to changes in another variable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Pearson's correlation coefficient (r) ranges from -1 to +1, where values close to +1 indicate a strong positive correlation, values close to -1 indicate a strong negative correlation, and values close to 0 indicate no linear correlation.</a:t>
            </a:r>
          </a:p>
          <a:p>
            <a:pPr lvl="1" algn="l"/>
            <a:endParaRPr lang="en-US" sz="1400" b="1" i="0" dirty="0">
              <a:solidFill>
                <a:srgbClr val="0D0D0D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1400" b="1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ANOVA (Analysis of Variance)</a:t>
            </a: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ANOVA is primarily used to analyze the differences among means of three or more groups or treatment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ts main objective is to determine whether there are statistically significant differences between the means of the groups being compared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D0D0D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ANOVA helps in understanding the impact of categorical independent variables on a continuous dependent variable and identifying which groups differ significantly from each other.</a:t>
            </a:r>
          </a:p>
          <a:p>
            <a:pPr marL="742950" lvl="1" indent="-285750" algn="l">
              <a:buFont typeface="+mj-lt"/>
              <a:buAutoNum type="arabicPeriod"/>
            </a:pPr>
            <a:endParaRPr lang="en-US" sz="1400" b="0" i="0" dirty="0">
              <a:solidFill>
                <a:srgbClr val="0D0D0D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5C61AC-4DF3-027B-1C65-D7AF90C7E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9454" y="554271"/>
            <a:ext cx="3257983" cy="26129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88D657D-4297-96F8-CDB6-904E67C46B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1791" y="3619772"/>
            <a:ext cx="2453308" cy="206423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C183B24-40E3-C32B-B565-8459F1C17A1E}"/>
              </a:ext>
            </a:extLst>
          </p:cNvPr>
          <p:cNvSpPr txBox="1"/>
          <p:nvPr/>
        </p:nvSpPr>
        <p:spPr>
          <a:xfrm>
            <a:off x="479261" y="5283899"/>
            <a:ext cx="311671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y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ok for </a:t>
            </a: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rrelations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entify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crucial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dictors</a:t>
            </a:r>
            <a:endParaRPr lang="pt-BR" sz="14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rsimony</a:t>
            </a:r>
            <a:endParaRPr lang="pt-BR" sz="14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65873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Missing valu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A2B7DE-A8EA-0945-716F-ECAFA7368DD3}"/>
              </a:ext>
            </a:extLst>
          </p:cNvPr>
          <p:cNvSpPr txBox="1"/>
          <p:nvPr/>
        </p:nvSpPr>
        <p:spPr>
          <a:xfrm>
            <a:off x="411934" y="1993386"/>
            <a:ext cx="7450156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dentifying Missingness Patterns</a:t>
            </a: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ssessing Data Completeness</a:t>
            </a: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Understanding Missingness Mechanism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Different missingness mechanisms, such as missing completely at random (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MCAR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), missing at random (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MAR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), or missing not at random (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MNAR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), require different handling approache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valuating Impact on Analysis</a:t>
            </a: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mplementing Handling Strategies</a:t>
            </a:r>
            <a:endParaRPr lang="pt-BR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5CCC95-E737-69B4-9073-162CC7FC7379}"/>
              </a:ext>
            </a:extLst>
          </p:cNvPr>
          <p:cNvSpPr txBox="1"/>
          <p:nvPr/>
        </p:nvSpPr>
        <p:spPr>
          <a:xfrm>
            <a:off x="424872" y="1304974"/>
            <a:ext cx="34451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000" dirty="0" err="1">
                <a:solidFill>
                  <a:srgbClr val="313131"/>
                </a:solidFill>
              </a:rPr>
              <a:t>Main</a:t>
            </a:r>
            <a:r>
              <a:rPr lang="pt-BR" sz="2000" dirty="0">
                <a:solidFill>
                  <a:srgbClr val="313131"/>
                </a:solidFill>
              </a:rPr>
              <a:t> </a:t>
            </a:r>
            <a:r>
              <a:rPr lang="pt-BR" sz="2000" dirty="0" err="1">
                <a:solidFill>
                  <a:srgbClr val="313131"/>
                </a:solidFill>
              </a:rPr>
              <a:t>objectives</a:t>
            </a:r>
            <a:r>
              <a:rPr lang="pt-BR" sz="2000" dirty="0">
                <a:solidFill>
                  <a:srgbClr val="313131"/>
                </a:solidFill>
              </a:rPr>
              <a:t>:</a:t>
            </a:r>
          </a:p>
        </p:txBody>
      </p:sp>
      <p:sp>
        <p:nvSpPr>
          <p:cNvPr id="12" name="Arrow: U-Turn 11">
            <a:extLst>
              <a:ext uri="{FF2B5EF4-FFF2-40B4-BE49-F238E27FC236}">
                <a16:creationId xmlns:a16="http://schemas.microsoft.com/office/drawing/2014/main" id="{B6F2AAD3-757A-E50A-2039-8738F84EBD8C}"/>
              </a:ext>
            </a:extLst>
          </p:cNvPr>
          <p:cNvSpPr/>
          <p:nvPr/>
        </p:nvSpPr>
        <p:spPr bwMode="gray">
          <a:xfrm>
            <a:off x="7296727" y="678587"/>
            <a:ext cx="3094182" cy="881067"/>
          </a:xfrm>
          <a:prstGeom prst="uturn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812A19-3EF2-9190-B7CD-FCDE9784DF96}"/>
              </a:ext>
            </a:extLst>
          </p:cNvPr>
          <p:cNvSpPr txBox="1"/>
          <p:nvPr/>
        </p:nvSpPr>
        <p:spPr>
          <a:xfrm>
            <a:off x="8843818" y="2187350"/>
            <a:ext cx="2854036" cy="216982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dirty="0">
                <a:solidFill>
                  <a:srgbClr val="313131"/>
                </a:solidFill>
              </a:rPr>
              <a:t>Complete Case </a:t>
            </a:r>
            <a:r>
              <a:rPr lang="pt-BR" dirty="0" err="1">
                <a:solidFill>
                  <a:srgbClr val="313131"/>
                </a:solidFill>
              </a:rPr>
              <a:t>Analysis</a:t>
            </a:r>
            <a:endParaRPr lang="pt-BR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or</a:t>
            </a:r>
            <a:endParaRPr lang="pt-BR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Mean</a:t>
            </a:r>
            <a:r>
              <a:rPr lang="pt-BR" dirty="0">
                <a:solidFill>
                  <a:srgbClr val="313131"/>
                </a:solidFill>
              </a:rPr>
              <a:t>/</a:t>
            </a:r>
            <a:r>
              <a:rPr lang="pt-BR" dirty="0" err="1">
                <a:solidFill>
                  <a:srgbClr val="313131"/>
                </a:solidFill>
              </a:rPr>
              <a:t>Median</a:t>
            </a:r>
            <a:r>
              <a:rPr lang="pt-BR" dirty="0">
                <a:solidFill>
                  <a:srgbClr val="313131"/>
                </a:solidFill>
              </a:rPr>
              <a:t> </a:t>
            </a:r>
            <a:r>
              <a:rPr lang="pt-BR" dirty="0" err="1">
                <a:solidFill>
                  <a:srgbClr val="313131"/>
                </a:solidFill>
              </a:rPr>
              <a:t>Imputation</a:t>
            </a:r>
            <a:endParaRPr lang="pt-BR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or</a:t>
            </a:r>
            <a:endParaRPr lang="pt-BR" dirty="0">
              <a:solidFill>
                <a:srgbClr val="313131"/>
              </a:solidFill>
            </a:endParaRPr>
          </a:p>
          <a:p>
            <a:pPr algn="ctr"/>
            <a:r>
              <a:rPr lang="pt-BR" sz="1800" b="1" i="0" dirty="0">
                <a:solidFill>
                  <a:srgbClr val="000000"/>
                </a:solidFill>
                <a:effectLst/>
                <a:latin typeface="Helvetica Neue"/>
              </a:rPr>
              <a:t>KNN </a:t>
            </a:r>
            <a:r>
              <a:rPr lang="pt-BR" sz="1800" b="1" i="0" dirty="0" err="1">
                <a:solidFill>
                  <a:srgbClr val="000000"/>
                </a:solidFill>
                <a:effectLst/>
                <a:latin typeface="Helvetica Neue"/>
              </a:rPr>
              <a:t>Imputation</a:t>
            </a:r>
            <a:r>
              <a:rPr lang="pt-BR" sz="1800" b="0" i="0" dirty="0">
                <a:solidFill>
                  <a:srgbClr val="000000"/>
                </a:solidFill>
                <a:effectLst/>
                <a:latin typeface="Helvetica Neue"/>
              </a:rPr>
              <a:t> </a:t>
            </a:r>
          </a:p>
          <a:p>
            <a:pPr algn="ctr"/>
            <a:r>
              <a:rPr lang="pt-BR" sz="1800" b="0" i="0" dirty="0">
                <a:solidFill>
                  <a:srgbClr val="000000"/>
                </a:solidFill>
                <a:effectLst/>
                <a:latin typeface="Helvetica Neue"/>
              </a:rPr>
              <a:t>and </a:t>
            </a:r>
          </a:p>
          <a:p>
            <a:pPr algn="ctr"/>
            <a:r>
              <a:rPr lang="pt-BR" sz="1800" b="1" i="0" dirty="0">
                <a:solidFill>
                  <a:srgbClr val="000000"/>
                </a:solidFill>
                <a:effectLst/>
                <a:latin typeface="Helvetica Neue"/>
              </a:rPr>
              <a:t>Interative </a:t>
            </a:r>
            <a:r>
              <a:rPr lang="pt-BR" sz="1800" b="1" i="0" dirty="0" err="1">
                <a:solidFill>
                  <a:srgbClr val="000000"/>
                </a:solidFill>
                <a:effectLst/>
                <a:latin typeface="Helvetica Neue"/>
              </a:rPr>
              <a:t>Imputation</a:t>
            </a:r>
            <a:endParaRPr lang="pt-BR" sz="1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718C54-8095-CB5C-505F-30EFE0033B94}"/>
              </a:ext>
            </a:extLst>
          </p:cNvPr>
          <p:cNvSpPr txBox="1"/>
          <p:nvPr/>
        </p:nvSpPr>
        <p:spPr>
          <a:xfrm>
            <a:off x="9335654" y="1716387"/>
            <a:ext cx="187036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How</a:t>
            </a:r>
            <a:r>
              <a:rPr lang="pt-BR" dirty="0">
                <a:solidFill>
                  <a:srgbClr val="313131"/>
                </a:solidFill>
              </a:rPr>
              <a:t> </a:t>
            </a:r>
            <a:r>
              <a:rPr lang="pt-BR" dirty="0" err="1">
                <a:solidFill>
                  <a:srgbClr val="313131"/>
                </a:solidFill>
              </a:rPr>
              <a:t>to</a:t>
            </a:r>
            <a:r>
              <a:rPr lang="pt-BR" dirty="0">
                <a:solidFill>
                  <a:srgbClr val="313131"/>
                </a:solidFill>
              </a:rPr>
              <a:t> solve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A3D1B6-8FDE-8299-4D0C-560F9A7D6C93}"/>
              </a:ext>
            </a:extLst>
          </p:cNvPr>
          <p:cNvSpPr/>
          <p:nvPr/>
        </p:nvSpPr>
        <p:spPr bwMode="gray">
          <a:xfrm>
            <a:off x="8843818" y="3539838"/>
            <a:ext cx="2854036" cy="817338"/>
          </a:xfrm>
          <a:prstGeom prst="rect">
            <a:avLst/>
          </a:pr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B373E9-7EA7-35A3-6338-00F6CECA751E}"/>
              </a:ext>
            </a:extLst>
          </p:cNvPr>
          <p:cNvSpPr txBox="1"/>
          <p:nvPr/>
        </p:nvSpPr>
        <p:spPr>
          <a:xfrm>
            <a:off x="10511439" y="4488781"/>
            <a:ext cx="13891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C00000"/>
                </a:solidFill>
              </a:rPr>
              <a:t>Today’s</a:t>
            </a:r>
            <a:r>
              <a:rPr lang="pt-BR" dirty="0">
                <a:solidFill>
                  <a:srgbClr val="C00000"/>
                </a:solidFill>
              </a:rPr>
              <a:t> </a:t>
            </a:r>
            <a:r>
              <a:rPr lang="pt-BR" dirty="0" err="1">
                <a:solidFill>
                  <a:srgbClr val="C00000"/>
                </a:solidFill>
              </a:rPr>
              <a:t>class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FFE20A5-4C9B-053D-FBA2-5E201EA90B8D}"/>
              </a:ext>
            </a:extLst>
          </p:cNvPr>
          <p:cNvSpPr txBox="1"/>
          <p:nvPr/>
        </p:nvSpPr>
        <p:spPr>
          <a:xfrm>
            <a:off x="426343" y="5174788"/>
            <a:ext cx="4330384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y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ok for </a:t>
            </a: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ssing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ues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dentify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ortant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ormation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at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as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st</a:t>
            </a:r>
            <a:endParaRPr lang="pt-BR" sz="14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pare Variable for model</a:t>
            </a:r>
          </a:p>
        </p:txBody>
      </p:sp>
    </p:spTree>
    <p:extLst>
      <p:ext uri="{BB962C8B-B14F-4D97-AF65-F5344CB8AC3E}">
        <p14:creationId xmlns:p14="http://schemas.microsoft.com/office/powerpoint/2010/main" val="409826362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Outli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E1B8DA-FE26-EFDF-50C8-4326DA1ECCFB}"/>
              </a:ext>
            </a:extLst>
          </p:cNvPr>
          <p:cNvSpPr txBox="1"/>
          <p:nvPr/>
        </p:nvSpPr>
        <p:spPr>
          <a:xfrm>
            <a:off x="8519673" y="4464855"/>
            <a:ext cx="2214983" cy="1538883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sz="1600" dirty="0" err="1">
                <a:solidFill>
                  <a:srgbClr val="313131"/>
                </a:solidFill>
              </a:rPr>
              <a:t>Trimming</a:t>
            </a:r>
            <a:endParaRPr lang="pt-BR" sz="1600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sz="1600" dirty="0" err="1">
                <a:solidFill>
                  <a:srgbClr val="313131"/>
                </a:solidFill>
              </a:rPr>
              <a:t>or</a:t>
            </a:r>
            <a:endParaRPr lang="pt-BR" sz="1600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sz="1600" dirty="0" err="1">
                <a:solidFill>
                  <a:srgbClr val="313131"/>
                </a:solidFill>
              </a:rPr>
              <a:t>Censoring</a:t>
            </a:r>
            <a:endParaRPr lang="pt-BR" sz="1600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sz="1600" dirty="0" err="1">
                <a:solidFill>
                  <a:srgbClr val="313131"/>
                </a:solidFill>
              </a:rPr>
              <a:t>or</a:t>
            </a:r>
            <a:endParaRPr lang="pt-BR" sz="1600" dirty="0">
              <a:solidFill>
                <a:srgbClr val="313131"/>
              </a:solidFill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pt-BR" sz="1600" dirty="0">
                <a:solidFill>
                  <a:srgbClr val="313131"/>
                </a:solidFill>
              </a:rPr>
              <a:t>Discretiz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00056C-8840-CDB6-F16E-769BEF58BC61}"/>
              </a:ext>
            </a:extLst>
          </p:cNvPr>
          <p:cNvSpPr txBox="1"/>
          <p:nvPr/>
        </p:nvSpPr>
        <p:spPr>
          <a:xfrm>
            <a:off x="8691983" y="3993892"/>
            <a:ext cx="187036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313131"/>
                </a:solidFill>
              </a:rPr>
              <a:t>How</a:t>
            </a:r>
            <a:r>
              <a:rPr lang="pt-BR" dirty="0">
                <a:solidFill>
                  <a:srgbClr val="313131"/>
                </a:solidFill>
              </a:rPr>
              <a:t> </a:t>
            </a:r>
            <a:r>
              <a:rPr lang="pt-BR" dirty="0" err="1">
                <a:solidFill>
                  <a:srgbClr val="313131"/>
                </a:solidFill>
              </a:rPr>
              <a:t>to</a:t>
            </a:r>
            <a:r>
              <a:rPr lang="pt-BR" dirty="0">
                <a:solidFill>
                  <a:srgbClr val="313131"/>
                </a:solidFill>
              </a:rPr>
              <a:t> solve?</a:t>
            </a:r>
          </a:p>
        </p:txBody>
      </p:sp>
      <p:pic>
        <p:nvPicPr>
          <p:cNvPr id="3074" name="Picture 2" descr="Outlier Analysis in Data Mining - TAE">
            <a:extLst>
              <a:ext uri="{FF2B5EF4-FFF2-40B4-BE49-F238E27FC236}">
                <a16:creationId xmlns:a16="http://schemas.microsoft.com/office/drawing/2014/main" id="{27DFA922-72C6-EB6C-7082-4E1743053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740" y="924339"/>
            <a:ext cx="3498850" cy="22952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B0189D-5C0D-2B9B-B327-8E152045A359}"/>
              </a:ext>
            </a:extLst>
          </p:cNvPr>
          <p:cNvSpPr txBox="1"/>
          <p:nvPr/>
        </p:nvSpPr>
        <p:spPr>
          <a:xfrm>
            <a:off x="396286" y="958410"/>
            <a:ext cx="653934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"An outlier is an observation which deviates so much from the other observations as to arouse suspicions that it was generated by a different mechanism." [D. Hawkins. Identification of Outliers, Chapman and Hall , 1980.]</a:t>
            </a:r>
            <a:endParaRPr lang="pt-BR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F0609A-4D0B-D3E2-7F3B-5985A13F10AF}"/>
              </a:ext>
            </a:extLst>
          </p:cNvPr>
          <p:cNvSpPr txBox="1"/>
          <p:nvPr/>
        </p:nvSpPr>
        <p:spPr>
          <a:xfrm>
            <a:off x="443770" y="1576127"/>
            <a:ext cx="6444375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Methods that help to identify Outliers</a:t>
            </a:r>
            <a:r>
              <a:rPr lang="en-US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  <a:endParaRPr lang="en-US" sz="1400" b="1" i="0" dirty="0">
              <a:solidFill>
                <a:srgbClr val="00000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endParaRPr lang="en-US" sz="1400" b="0" i="0" dirty="0">
              <a:solidFill>
                <a:srgbClr val="00000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f the variable is Normally distributed (Gaussian):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 Outliers = mean +/- 3* std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400" b="0" i="0" dirty="0">
              <a:solidFill>
                <a:srgbClr val="00000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f the variable is skewed distributed, a general approach is to calculate the quantiles, and then the inter-quantile range (IQR), as follows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QR = 75th quantile - 25th quantile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1400" b="0" i="0" dirty="0">
              <a:solidFill>
                <a:srgbClr val="00000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14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An outlier will sit outside the following upper and lower boundaries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Upper boundary = 75th quantile + (IQR * 1.5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Lower boundary = 25th quantile - (IQR * 1.5)</a:t>
            </a:r>
          </a:p>
          <a:p>
            <a:pPr algn="l"/>
            <a:endParaRPr lang="en-US" sz="1400" b="0" i="0" dirty="0">
              <a:solidFill>
                <a:srgbClr val="00000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1400" b="1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or for extreme cases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Upper boundary = 75th quantile + (IQR * 3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Lower boundary = 25th quantile - (IQR * 3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2D69DC-5167-CFF7-A4A7-81CE63904779}"/>
              </a:ext>
            </a:extLst>
          </p:cNvPr>
          <p:cNvSpPr/>
          <p:nvPr/>
        </p:nvSpPr>
        <p:spPr bwMode="gray">
          <a:xfrm>
            <a:off x="8528037" y="5680364"/>
            <a:ext cx="2214983" cy="323374"/>
          </a:xfrm>
          <a:prstGeom prst="rect">
            <a:avLst/>
          </a:pr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15D7D0-EF37-6D5B-F26F-211AB18E5DB7}"/>
              </a:ext>
            </a:extLst>
          </p:cNvPr>
          <p:cNvSpPr txBox="1"/>
          <p:nvPr/>
        </p:nvSpPr>
        <p:spPr>
          <a:xfrm>
            <a:off x="10330457" y="6157626"/>
            <a:ext cx="14459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dirty="0" err="1">
                <a:solidFill>
                  <a:srgbClr val="C00000"/>
                </a:solidFill>
              </a:rPr>
              <a:t>Today’s</a:t>
            </a:r>
            <a:r>
              <a:rPr lang="pt-BR" dirty="0">
                <a:solidFill>
                  <a:srgbClr val="C00000"/>
                </a:solidFill>
              </a:rPr>
              <a:t> </a:t>
            </a:r>
            <a:r>
              <a:rPr lang="pt-BR" dirty="0" err="1">
                <a:solidFill>
                  <a:srgbClr val="C00000"/>
                </a:solidFill>
              </a:rPr>
              <a:t>class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63BA91-2BD6-2C9A-8B33-B53FC49054CE}"/>
              </a:ext>
            </a:extLst>
          </p:cNvPr>
          <p:cNvSpPr txBox="1"/>
          <p:nvPr/>
        </p:nvSpPr>
        <p:spPr>
          <a:xfrm>
            <a:off x="511589" y="5499480"/>
            <a:ext cx="3116719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y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ok for </a:t>
            </a:r>
            <a:r>
              <a:rPr lang="pt-BR" sz="1400" b="1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utiliers</a:t>
            </a:r>
            <a:r>
              <a:rPr lang="pt-BR" sz="1400" b="1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dentify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spicious</a:t>
            </a: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ormation</a:t>
            </a:r>
            <a:endParaRPr lang="pt-BR" sz="14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pare Variable for model</a:t>
            </a:r>
          </a:p>
        </p:txBody>
      </p:sp>
    </p:spTree>
    <p:extLst>
      <p:ext uri="{BB962C8B-B14F-4D97-AF65-F5344CB8AC3E}">
        <p14:creationId xmlns:p14="http://schemas.microsoft.com/office/powerpoint/2010/main" val="11958600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Recommended Read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C902FB-7310-EF35-0893-00D03CAB1862}"/>
              </a:ext>
            </a:extLst>
          </p:cNvPr>
          <p:cNvSpPr txBox="1"/>
          <p:nvPr/>
        </p:nvSpPr>
        <p:spPr>
          <a:xfrm>
            <a:off x="672500" y="1519444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 err="1"/>
              <a:t>Machine</a:t>
            </a:r>
            <a:r>
              <a:rPr lang="pt-BR" dirty="0"/>
              <a:t> Learning </a:t>
            </a:r>
            <a:r>
              <a:rPr lang="pt-BR" dirty="0" err="1"/>
              <a:t>University</a:t>
            </a:r>
            <a:r>
              <a:rPr lang="pt-BR" dirty="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hlinkClick r:id="rId2"/>
              </a:rPr>
              <a:t>https://mlu-explain.github.io/</a:t>
            </a: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502193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tunnel with lights&#10;&#10;Description automatically generated with low confidence">
            <a:extLst>
              <a:ext uri="{FF2B5EF4-FFF2-40B4-BE49-F238E27FC236}">
                <a16:creationId xmlns:a16="http://schemas.microsoft.com/office/drawing/2014/main" id="{7AE19FBC-33A4-C506-DC39-BF0BF0966A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222" y="73891"/>
            <a:ext cx="9355777" cy="6234546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21129" y="2975937"/>
            <a:ext cx="4793996" cy="1285075"/>
          </a:xfrm>
        </p:spPr>
        <p:txBody>
          <a:bodyPr/>
          <a:lstStyle/>
          <a:p>
            <a:r>
              <a:rPr lang="en-US" sz="36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day’s Class…..</a:t>
            </a:r>
          </a:p>
        </p:txBody>
      </p:sp>
    </p:spTree>
    <p:extLst>
      <p:ext uri="{BB962C8B-B14F-4D97-AF65-F5344CB8AC3E}">
        <p14:creationId xmlns:p14="http://schemas.microsoft.com/office/powerpoint/2010/main" val="406050527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Discretiz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692B62-7C48-6884-6D30-B5179EF6D24D}"/>
              </a:ext>
            </a:extLst>
          </p:cNvPr>
          <p:cNvSpPr txBox="1"/>
          <p:nvPr/>
        </p:nvSpPr>
        <p:spPr>
          <a:xfrm>
            <a:off x="511589" y="1205637"/>
            <a:ext cx="930101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he process of transforming continuous functions, models, variables and equations into discrete counterpar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his is important, as some algorithms only work with inputs of discrete values, not predicting continuous valu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Discretization creates a limited number of possible states.</a:t>
            </a:r>
            <a:endParaRPr lang="pt-BR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C6927DD-AE5E-9EC2-241E-DC8D3C13ADF9}"/>
              </a:ext>
            </a:extLst>
          </p:cNvPr>
          <p:cNvGrpSpPr/>
          <p:nvPr/>
        </p:nvGrpSpPr>
        <p:grpSpPr>
          <a:xfrm>
            <a:off x="2643187" y="2656486"/>
            <a:ext cx="7362749" cy="2995877"/>
            <a:chOff x="2643187" y="2656486"/>
            <a:chExt cx="7362749" cy="299587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FC9E2DD-3ADD-B23C-A4B9-AB0FE5624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43187" y="2656486"/>
              <a:ext cx="7362749" cy="2995877"/>
            </a:xfrm>
            <a:prstGeom prst="rect">
              <a:avLst/>
            </a:prstGeom>
          </p:spPr>
        </p:pic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AB472C1A-8406-720B-5121-FD38ACBD5859}"/>
                </a:ext>
              </a:extLst>
            </p:cNvPr>
            <p:cNvSpPr/>
            <p:nvPr/>
          </p:nvSpPr>
          <p:spPr bwMode="gray">
            <a:xfrm>
              <a:off x="5587998" y="3833091"/>
              <a:ext cx="1366984" cy="640623"/>
            </a:xfrm>
            <a:prstGeom prst="rightArrow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BR" sz="1200" b="1" dirty="0">
                  <a:solidFill>
                    <a:schemeClr val="bg1"/>
                  </a:solidFill>
                </a:rPr>
                <a:t>Discretization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1E3BC11-BF50-9886-E0A4-5DC535D70DDA}"/>
                </a:ext>
              </a:extLst>
            </p:cNvPr>
            <p:cNvSpPr/>
            <p:nvPr/>
          </p:nvSpPr>
          <p:spPr bwMode="gray">
            <a:xfrm>
              <a:off x="3491347" y="4021134"/>
              <a:ext cx="1043708" cy="452580"/>
            </a:xfrm>
            <a:prstGeom prst="round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BR" sz="1100" b="1" dirty="0">
                  <a:solidFill>
                    <a:schemeClr val="bg1"/>
                  </a:solidFill>
                </a:rPr>
                <a:t>Continuous Variable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60D8E95-8BE8-15D7-2086-B242668DD72C}"/>
                </a:ext>
              </a:extLst>
            </p:cNvPr>
            <p:cNvSpPr/>
            <p:nvPr/>
          </p:nvSpPr>
          <p:spPr bwMode="gray">
            <a:xfrm>
              <a:off x="7767784" y="4021134"/>
              <a:ext cx="914398" cy="452580"/>
            </a:xfrm>
            <a:prstGeom prst="round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pt-BR" sz="1000" b="1" dirty="0">
                  <a:solidFill>
                    <a:schemeClr val="bg1"/>
                  </a:solidFill>
                </a:rPr>
                <a:t>Discrete Variab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743141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Discretiz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692B62-7C48-6884-6D30-B5179EF6D24D}"/>
              </a:ext>
            </a:extLst>
          </p:cNvPr>
          <p:cNvSpPr txBox="1"/>
          <p:nvPr/>
        </p:nvSpPr>
        <p:spPr>
          <a:xfrm>
            <a:off x="511589" y="1205637"/>
            <a:ext cx="9301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pt-BR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Car</a:t>
            </a:r>
            <a:r>
              <a:rPr lang="pt-BR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nsurance</a:t>
            </a:r>
            <a:r>
              <a:rPr lang="pt-BR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Price</a:t>
            </a:r>
            <a:endParaRPr lang="pt-BR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pt-BR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Age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s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a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good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predictor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for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the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risk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of</a:t>
            </a:r>
            <a:r>
              <a:rPr lang="pt-BR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na </a:t>
            </a:r>
            <a:r>
              <a:rPr lang="pt-BR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ccident</a:t>
            </a:r>
            <a:endParaRPr lang="pt-BR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There is no significant difference in risk for individuals aged 18 or 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Creating age groups helps in separating the risk</a:t>
            </a:r>
            <a:endParaRPr lang="pt-BR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122" name="Picture 2" descr="Citroën transforma seus carros em GIFs animados de 8-bits - Autos Segredos">
            <a:extLst>
              <a:ext uri="{FF2B5EF4-FFF2-40B4-BE49-F238E27FC236}">
                <a16:creationId xmlns:a16="http://schemas.microsoft.com/office/drawing/2014/main" id="{B54103EA-2B49-64D9-7E29-A839C2671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011" y="3136509"/>
            <a:ext cx="2799077" cy="279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CFE6143-E3D9-D687-EC1B-8F02E9A6D301}"/>
              </a:ext>
            </a:extLst>
          </p:cNvPr>
          <p:cNvSpPr txBox="1"/>
          <p:nvPr/>
        </p:nvSpPr>
        <p:spPr>
          <a:xfrm>
            <a:off x="5254625" y="3233790"/>
            <a:ext cx="527685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bability of an accident occurring by groups:</a:t>
            </a:r>
          </a:p>
          <a:p>
            <a:pPr>
              <a:spcBef>
                <a:spcPts val="600"/>
              </a:spcBef>
              <a:buSzPct val="100000"/>
            </a:pPr>
            <a:endParaRPr lang="en-US" sz="16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up 1: Individuals aged 18-25 year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up 2: Individuals aged 26-30 year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up 3: Individuals aged 30-45 year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up 4: Individuals aged 45-60 years</a:t>
            </a:r>
          </a:p>
          <a:p>
            <a:pPr marL="742950" lvl="1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up 5: Individuals aged over 60 years</a:t>
            </a:r>
            <a:endParaRPr lang="pt-BR" sz="1600" dirty="0">
              <a:solidFill>
                <a:srgbClr val="31313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69389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tunnel with lights&#10;&#10;Description automatically generated with low confidence">
            <a:extLst>
              <a:ext uri="{FF2B5EF4-FFF2-40B4-BE49-F238E27FC236}">
                <a16:creationId xmlns:a16="http://schemas.microsoft.com/office/drawing/2014/main" id="{00729F1A-41C8-4FA1-B931-AEBA6E461F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3618608" y="0"/>
            <a:ext cx="8573392" cy="6858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A5404B7-EF2F-4DAB-B41C-20FBF8FDFD30}"/>
              </a:ext>
            </a:extLst>
          </p:cNvPr>
          <p:cNvSpPr txBox="1">
            <a:spLocks/>
          </p:cNvSpPr>
          <p:nvPr/>
        </p:nvSpPr>
        <p:spPr bwMode="gray">
          <a:xfrm>
            <a:off x="490441" y="4741387"/>
            <a:ext cx="8356103" cy="8959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44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calling the last classes...</a:t>
            </a:r>
          </a:p>
        </p:txBody>
      </p:sp>
    </p:spTree>
    <p:extLst>
      <p:ext uri="{BB962C8B-B14F-4D97-AF65-F5344CB8AC3E}">
        <p14:creationId xmlns:p14="http://schemas.microsoft.com/office/powerpoint/2010/main" val="23345926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EEBA1EFF-D869-431C-8658-49F3C66335E6}"/>
              </a:ext>
            </a:extLst>
          </p:cNvPr>
          <p:cNvSpPr txBox="1">
            <a:spLocks noChangeArrowheads="1"/>
          </p:cNvSpPr>
          <p:nvPr/>
        </p:nvSpPr>
        <p:spPr>
          <a:xfrm>
            <a:off x="330004" y="899965"/>
            <a:ext cx="11188700" cy="5776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200" dirty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</a:rPr>
              <a:t>Main Objective of this Cours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A627E7-CB5A-47EE-8380-A32DB236A64B}"/>
              </a:ext>
            </a:extLst>
          </p:cNvPr>
          <p:cNvSpPr txBox="1"/>
          <p:nvPr/>
        </p:nvSpPr>
        <p:spPr>
          <a:xfrm>
            <a:off x="559898" y="1882198"/>
            <a:ext cx="11072204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derstand and implement techniques for </a:t>
            </a:r>
            <a:r>
              <a:rPr lang="en-US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exploring and analyzing datasets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ithout predefined labels or targets;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chemeClr val="bg1">
                  <a:lumMod val="9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ain insights into </a:t>
            </a:r>
            <a:r>
              <a:rPr lang="en-US" b="1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a distributions, patterns, and relationships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through visualization and statistical analysis;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chemeClr val="bg1">
                  <a:lumMod val="9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tilize EDA and unsupervised learning techniques to preprocess and prepare data for further analysis or modeling tasks;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chemeClr val="bg1">
                  <a:lumMod val="9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pret and communicate the results of EDA and unsupervised learning analyses effectively to support decision-making processes in various domains.</a:t>
            </a:r>
          </a:p>
        </p:txBody>
      </p:sp>
    </p:spTree>
    <p:extLst>
      <p:ext uri="{BB962C8B-B14F-4D97-AF65-F5344CB8AC3E}">
        <p14:creationId xmlns:p14="http://schemas.microsoft.com/office/powerpoint/2010/main" val="81250541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6D972A9-CCE3-42A1-9BAA-E02F3E17CD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" y="0"/>
            <a:ext cx="12175299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545315A-9192-4625-B287-6F91570CE3C3}"/>
              </a:ext>
            </a:extLst>
          </p:cNvPr>
          <p:cNvSpPr/>
          <p:nvPr/>
        </p:nvSpPr>
        <p:spPr bwMode="gray">
          <a:xfrm>
            <a:off x="-8352" y="10"/>
            <a:ext cx="12192001" cy="6857990"/>
          </a:xfrm>
          <a:prstGeom prst="rect">
            <a:avLst/>
          </a:prstGeom>
          <a:solidFill>
            <a:schemeClr val="tx1">
              <a:alpha val="5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6C52FE3-59F4-4169-B29E-4B85BD6032E6}"/>
              </a:ext>
            </a:extLst>
          </p:cNvPr>
          <p:cNvSpPr txBox="1">
            <a:spLocks/>
          </p:cNvSpPr>
          <p:nvPr/>
        </p:nvSpPr>
        <p:spPr bwMode="gray">
          <a:xfrm>
            <a:off x="277091" y="2527301"/>
            <a:ext cx="7130473" cy="17976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4800" b="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xploratory Data Analysis</a:t>
            </a:r>
          </a:p>
        </p:txBody>
      </p:sp>
    </p:spTree>
    <p:extLst>
      <p:ext uri="{BB962C8B-B14F-4D97-AF65-F5344CB8AC3E}">
        <p14:creationId xmlns:p14="http://schemas.microsoft.com/office/powerpoint/2010/main" val="12814489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E66D47BA-B7A7-6E9A-E2A0-79FBD5FDB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97" y="1727663"/>
            <a:ext cx="3674802" cy="3681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EA15317-5806-038F-2EF0-F32A555CB19E}"/>
              </a:ext>
            </a:extLst>
          </p:cNvPr>
          <p:cNvSpPr txBox="1"/>
          <p:nvPr/>
        </p:nvSpPr>
        <p:spPr>
          <a:xfrm>
            <a:off x="1492090" y="432835"/>
            <a:ext cx="443185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CRISP-DM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6A4BE0B-273E-77A8-B812-4D261DF1B23C}"/>
              </a:ext>
            </a:extLst>
          </p:cNvPr>
          <p:cNvSpPr/>
          <p:nvPr/>
        </p:nvSpPr>
        <p:spPr bwMode="gray">
          <a:xfrm>
            <a:off x="296909" y="1083886"/>
            <a:ext cx="4296578" cy="275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Cross-</a:t>
            </a:r>
            <a:r>
              <a:rPr lang="pt-BR" sz="1600" b="0" i="0" dirty="0" err="1">
                <a:solidFill>
                  <a:srgbClr val="0D0D0D"/>
                </a:solidFill>
                <a:effectLst/>
                <a:latin typeface="Söhne"/>
              </a:rPr>
              <a:t>Industry</a:t>
            </a: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 Standard </a:t>
            </a:r>
            <a:r>
              <a:rPr lang="pt-BR" sz="1600" b="0" i="0" dirty="0" err="1">
                <a:solidFill>
                  <a:srgbClr val="0D0D0D"/>
                </a:solidFill>
                <a:effectLst/>
                <a:latin typeface="Söhne"/>
              </a:rPr>
              <a:t>Process</a:t>
            </a: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 for Data Mining</a:t>
            </a:r>
            <a:endParaRPr lang="pt-BR" sz="1600" b="1" dirty="0">
              <a:solidFill>
                <a:schemeClr val="bg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7728FF2-D748-90E1-AE2C-1C1E6E78545A}"/>
              </a:ext>
            </a:extLst>
          </p:cNvPr>
          <p:cNvCxnSpPr>
            <a:cxnSpLocks/>
          </p:cNvCxnSpPr>
          <p:nvPr/>
        </p:nvCxnSpPr>
        <p:spPr>
          <a:xfrm>
            <a:off x="4593487" y="3171993"/>
            <a:ext cx="1502513" cy="0"/>
          </a:xfrm>
          <a:prstGeom prst="straightConnector1">
            <a:avLst/>
          </a:prstGeom>
          <a:ln w="57150">
            <a:solidFill>
              <a:srgbClr val="00558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C7B2FFC-BE58-20A0-538C-A5EEBC32BA9C}"/>
              </a:ext>
            </a:extLst>
          </p:cNvPr>
          <p:cNvSpPr/>
          <p:nvPr/>
        </p:nvSpPr>
        <p:spPr bwMode="gray">
          <a:xfrm>
            <a:off x="6676202" y="2476746"/>
            <a:ext cx="4959808" cy="1422707"/>
          </a:xfrm>
          <a:prstGeom prst="roundRect">
            <a:avLst/>
          </a:prstGeom>
          <a:solidFill>
            <a:srgbClr val="0076A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dirty="0">
                <a:solidFill>
                  <a:schemeClr val="accent2">
                    <a:lumMod val="20000"/>
                    <a:lumOff val="80000"/>
                  </a:schemeClr>
                </a:solidFill>
                <a:latin typeface="Söhne"/>
              </a:rPr>
              <a:t>S</a:t>
            </a:r>
            <a:r>
              <a:rPr lang="en-US" sz="2000" b="0" i="0" dirty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Söhne"/>
              </a:rPr>
              <a:t>tructured approach for planning and executing data mining projects.</a:t>
            </a:r>
            <a:endParaRPr lang="pt-BR" sz="2000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58747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E66D47BA-B7A7-6E9A-E2A0-79FBD5FDB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97" y="1727663"/>
            <a:ext cx="3674802" cy="3681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EA15317-5806-038F-2EF0-F32A555CB19E}"/>
              </a:ext>
            </a:extLst>
          </p:cNvPr>
          <p:cNvSpPr txBox="1"/>
          <p:nvPr/>
        </p:nvSpPr>
        <p:spPr>
          <a:xfrm>
            <a:off x="1492090" y="432835"/>
            <a:ext cx="443185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CRISP-DM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BE91B3E-E988-291B-4D0A-6D19F380D721}"/>
              </a:ext>
            </a:extLst>
          </p:cNvPr>
          <p:cNvSpPr/>
          <p:nvPr/>
        </p:nvSpPr>
        <p:spPr bwMode="gray">
          <a:xfrm>
            <a:off x="6676202" y="2476746"/>
            <a:ext cx="4959808" cy="1422707"/>
          </a:xfrm>
          <a:prstGeom prst="roundRect">
            <a:avLst/>
          </a:prstGeom>
          <a:solidFill>
            <a:srgbClr val="0076A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0" i="0" dirty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Söhne"/>
              </a:rPr>
              <a:t>The purpose of </a:t>
            </a:r>
            <a:r>
              <a:rPr lang="en-US" b="1" i="0" dirty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Söhne"/>
              </a:rPr>
              <a:t>Exploratory Data Analysis (EDA) </a:t>
            </a:r>
            <a:r>
              <a:rPr lang="en-US" b="0" i="0" dirty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Söhne"/>
              </a:rPr>
              <a:t>is to summarize the main characteristics of a dataset to better understand its structure, patterns, and relationships.</a:t>
            </a:r>
            <a:endParaRPr lang="pt-BR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F8D5843-F555-FD77-310A-26BC00451ED9}"/>
              </a:ext>
            </a:extLst>
          </p:cNvPr>
          <p:cNvSpPr/>
          <p:nvPr/>
        </p:nvSpPr>
        <p:spPr bwMode="gray">
          <a:xfrm>
            <a:off x="804231" y="3232458"/>
            <a:ext cx="1200839" cy="777682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6109D9-0813-16C4-98E9-39D73EF5EB1C}"/>
              </a:ext>
            </a:extLst>
          </p:cNvPr>
          <p:cNvSpPr/>
          <p:nvPr/>
        </p:nvSpPr>
        <p:spPr bwMode="gray">
          <a:xfrm>
            <a:off x="1077816" y="4010141"/>
            <a:ext cx="907733" cy="616944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36F2FA0-E3F2-B0EA-3292-0594930E7834}"/>
              </a:ext>
            </a:extLst>
          </p:cNvPr>
          <p:cNvSpPr/>
          <p:nvPr/>
        </p:nvSpPr>
        <p:spPr bwMode="gray">
          <a:xfrm>
            <a:off x="1802354" y="4480844"/>
            <a:ext cx="1200838" cy="332621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C17F582-45B6-5B83-01F8-B058687F2274}"/>
              </a:ext>
            </a:extLst>
          </p:cNvPr>
          <p:cNvSpPr/>
          <p:nvPr/>
        </p:nvSpPr>
        <p:spPr bwMode="gray">
          <a:xfrm rot="20461689">
            <a:off x="2908301" y="4176956"/>
            <a:ext cx="697781" cy="458649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5BFB5C-929E-F89A-C357-A278510E6337}"/>
              </a:ext>
            </a:extLst>
          </p:cNvPr>
          <p:cNvSpPr/>
          <p:nvPr/>
        </p:nvSpPr>
        <p:spPr bwMode="gray">
          <a:xfrm>
            <a:off x="3035894" y="3377753"/>
            <a:ext cx="993482" cy="756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0394094-76E3-D6A5-4661-DE5554A7B996}"/>
              </a:ext>
            </a:extLst>
          </p:cNvPr>
          <p:cNvSpPr/>
          <p:nvPr/>
        </p:nvSpPr>
        <p:spPr bwMode="gray">
          <a:xfrm rot="16822003">
            <a:off x="2278229" y="3811369"/>
            <a:ext cx="1149345" cy="25409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290E6A7-4F6D-BA7B-E6D6-8D7929C88A7C}"/>
              </a:ext>
            </a:extLst>
          </p:cNvPr>
          <p:cNvSpPr/>
          <p:nvPr/>
        </p:nvSpPr>
        <p:spPr bwMode="gray">
          <a:xfrm rot="14473592">
            <a:off x="2308205" y="3068203"/>
            <a:ext cx="995979" cy="239794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683363E-0A7B-3A02-CB1A-5A8EBD901905}"/>
              </a:ext>
            </a:extLst>
          </p:cNvPr>
          <p:cNvSpPr/>
          <p:nvPr/>
        </p:nvSpPr>
        <p:spPr bwMode="gray">
          <a:xfrm>
            <a:off x="2193666" y="2644176"/>
            <a:ext cx="370618" cy="203684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B060F91-F58A-1422-7D13-FC33896B5D4F}"/>
              </a:ext>
            </a:extLst>
          </p:cNvPr>
          <p:cNvSpPr/>
          <p:nvPr/>
        </p:nvSpPr>
        <p:spPr bwMode="gray">
          <a:xfrm>
            <a:off x="296909" y="1083886"/>
            <a:ext cx="4296578" cy="275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Cross-</a:t>
            </a:r>
            <a:r>
              <a:rPr lang="pt-BR" sz="1600" b="0" i="0" dirty="0" err="1">
                <a:solidFill>
                  <a:srgbClr val="0D0D0D"/>
                </a:solidFill>
                <a:effectLst/>
                <a:latin typeface="Söhne"/>
              </a:rPr>
              <a:t>Industry</a:t>
            </a: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 Standard </a:t>
            </a:r>
            <a:r>
              <a:rPr lang="pt-BR" sz="1600" b="0" i="0" dirty="0" err="1">
                <a:solidFill>
                  <a:srgbClr val="0D0D0D"/>
                </a:solidFill>
                <a:effectLst/>
                <a:latin typeface="Söhne"/>
              </a:rPr>
              <a:t>Process</a:t>
            </a:r>
            <a:r>
              <a:rPr lang="pt-BR" sz="1600" b="0" i="0" dirty="0">
                <a:solidFill>
                  <a:srgbClr val="0D0D0D"/>
                </a:solidFill>
                <a:effectLst/>
                <a:latin typeface="Söhne"/>
              </a:rPr>
              <a:t> for Data Mining</a:t>
            </a: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31E5C52-9615-A2A1-D5BB-085BE1069293}"/>
              </a:ext>
            </a:extLst>
          </p:cNvPr>
          <p:cNvSpPr/>
          <p:nvPr/>
        </p:nvSpPr>
        <p:spPr bwMode="gray">
          <a:xfrm>
            <a:off x="999309" y="1916935"/>
            <a:ext cx="3021848" cy="2487018"/>
          </a:xfrm>
          <a:prstGeom prst="ellipse">
            <a:avLst/>
          </a:prstGeom>
          <a:noFill/>
          <a:ln w="76200" algn="ctr">
            <a:solidFill>
              <a:srgbClr val="005587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1B94F16-BBD6-7A54-68DF-BE857E91779F}"/>
              </a:ext>
            </a:extLst>
          </p:cNvPr>
          <p:cNvCxnSpPr>
            <a:cxnSpLocks/>
          </p:cNvCxnSpPr>
          <p:nvPr/>
        </p:nvCxnSpPr>
        <p:spPr>
          <a:xfrm>
            <a:off x="4593487" y="3171993"/>
            <a:ext cx="1502513" cy="0"/>
          </a:xfrm>
          <a:prstGeom prst="straightConnector1">
            <a:avLst/>
          </a:prstGeom>
          <a:ln w="57150">
            <a:solidFill>
              <a:srgbClr val="00558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73272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FB0838C0-5FF6-79C9-8AC1-7778A1C98435}"/>
              </a:ext>
            </a:extLst>
          </p:cNvPr>
          <p:cNvSpPr txBox="1"/>
          <p:nvPr/>
        </p:nvSpPr>
        <p:spPr>
          <a:xfrm>
            <a:off x="511589" y="432836"/>
            <a:ext cx="443185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EDA Step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1BF8312E-CC38-D407-E606-74DCBE5D5F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6617963"/>
              </p:ext>
            </p:extLst>
          </p:nvPr>
        </p:nvGraphicFramePr>
        <p:xfrm>
          <a:off x="947451" y="1063519"/>
          <a:ext cx="10851614" cy="5361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1439087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Python libraries for data science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F719E92-29DA-D2AC-B30B-8E0547041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0020532"/>
              </p:ext>
            </p:extLst>
          </p:nvPr>
        </p:nvGraphicFramePr>
        <p:xfrm>
          <a:off x="2306197" y="1542362"/>
          <a:ext cx="7579605" cy="40321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6052882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528E105-1967-B796-4C5D-494E5D548CC9}"/>
              </a:ext>
            </a:extLst>
          </p:cNvPr>
          <p:cNvSpPr txBox="1"/>
          <p:nvPr/>
        </p:nvSpPr>
        <p:spPr>
          <a:xfrm>
            <a:off x="511589" y="432836"/>
            <a:ext cx="6062947" cy="4915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000"/>
              </a:spcAft>
              <a:buSzPct val="100000"/>
              <a:tabLst>
                <a:tab pos="5029200" algn="r"/>
              </a:tabLst>
            </a:pPr>
            <a:r>
              <a:rPr lang="en-US" sz="32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Calibri Light" panose="020F0302020204030204" pitchFamily="34" charset="0"/>
              </a:rPr>
              <a:t>Statistical Analysis</a:t>
            </a:r>
          </a:p>
        </p:txBody>
      </p:sp>
      <p:pic>
        <p:nvPicPr>
          <p:cNvPr id="3" name="Picture 2" descr="undefined">
            <a:extLst>
              <a:ext uri="{FF2B5EF4-FFF2-40B4-BE49-F238E27FC236}">
                <a16:creationId xmlns:a16="http://schemas.microsoft.com/office/drawing/2014/main" id="{ADB43AED-4245-8144-F946-4762A244F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27867" y="1712439"/>
            <a:ext cx="4622425" cy="343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B72A52F-BFAE-3828-DAD7-4C43E4159CB4}"/>
              </a:ext>
            </a:extLst>
          </p:cNvPr>
          <p:cNvSpPr txBox="1"/>
          <p:nvPr/>
        </p:nvSpPr>
        <p:spPr>
          <a:xfrm>
            <a:off x="6574536" y="1573939"/>
            <a:ext cx="21207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b="0" i="0" dirty="0">
                <a:solidFill>
                  <a:srgbClr val="0D0D0D"/>
                </a:solidFill>
                <a:effectLst/>
                <a:latin typeface="Söhne"/>
              </a:rPr>
              <a:t>Quantiles</a:t>
            </a:r>
            <a:endParaRPr lang="pt-BR" dirty="0">
              <a:solidFill>
                <a:srgbClr val="313131"/>
              </a:solidFill>
            </a:endParaRPr>
          </a:p>
        </p:txBody>
      </p:sp>
      <p:pic>
        <p:nvPicPr>
          <p:cNvPr id="6" name="Picture 2" descr="undefined">
            <a:extLst>
              <a:ext uri="{FF2B5EF4-FFF2-40B4-BE49-F238E27FC236}">
                <a16:creationId xmlns:a16="http://schemas.microsoft.com/office/drawing/2014/main" id="{B11CF0EF-74B6-A742-4A25-0986A3FE9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89" y="2895784"/>
            <a:ext cx="4904140" cy="2452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C9DA45E-DA24-358E-2F35-50DAE3BF46BD}"/>
              </a:ext>
            </a:extLst>
          </p:cNvPr>
          <p:cNvSpPr txBox="1"/>
          <p:nvPr/>
        </p:nvSpPr>
        <p:spPr>
          <a:xfrm>
            <a:off x="769481" y="1573938"/>
            <a:ext cx="21207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b="0" i="0" dirty="0">
                <a:solidFill>
                  <a:srgbClr val="0D0D0D"/>
                </a:solidFill>
                <a:effectLst/>
                <a:latin typeface="Söhne"/>
              </a:rPr>
              <a:t>Normal Distribution</a:t>
            </a:r>
            <a:endParaRPr lang="pt-BR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23842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678C4A89BABC4C8284D60851918205" ma:contentTypeVersion="19" ma:contentTypeDescription="Create a new document." ma:contentTypeScope="" ma:versionID="3d1c5349c0c9eb723894a5b6891733d1">
  <xsd:schema xmlns:xsd="http://www.w3.org/2001/XMLSchema" xmlns:xs="http://www.w3.org/2001/XMLSchema" xmlns:p="http://schemas.microsoft.com/office/2006/metadata/properties" xmlns:ns2="7649d36d-b18d-4f08-9d96-dda1d5d9ff08" xmlns:ns3="5bbdc9d5-5a7e-4463-a7aa-cbeab8129422" targetNamespace="http://schemas.microsoft.com/office/2006/metadata/properties" ma:root="true" ma:fieldsID="d2056d7b845301f2984afe74f0941a10" ns2:_="" ns3:_="">
    <xsd:import namespace="7649d36d-b18d-4f08-9d96-dda1d5d9ff08"/>
    <xsd:import namespace="5bbdc9d5-5a7e-4463-a7aa-cbeab81294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49d36d-b18d-4f08-9d96-dda1d5d9ff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aa2f0b1-8cc8-4c79-84c3-d4b76b88a03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bdc9d5-5a7e-4463-a7aa-cbeab812942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34338f89-6dfe-47fd-9b5f-2b868ae8e432}" ma:internalName="TaxCatchAll" ma:showField="CatchAllData" ma:web="5bbdc9d5-5a7e-4463-a7aa-cbeab81294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bdc9d5-5a7e-4463-a7aa-cbeab8129422" xsi:nil="true"/>
    <lcf76f155ced4ddcb4097134ff3c332f xmlns="7649d36d-b18d-4f08-9d96-dda1d5d9ff0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44AAF5C-4FA3-499F-820E-337FA7E954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49d36d-b18d-4f08-9d96-dda1d5d9ff08"/>
    <ds:schemaRef ds:uri="5bbdc9d5-5a7e-4463-a7aa-cbeab81294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7F3F0F-5B68-403A-8C7F-1EAC1246A3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CF6927-727B-446B-9A61-0CC30E0723EB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7a05b9ad-0622-4c53-9450-79c20751d37c"/>
    <ds:schemaRef ds:uri="06b499ee-b9d7-4121-afdb-822f15b16901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5bbdc9d5-5a7e-4463-a7aa-cbeab8129422"/>
    <ds:schemaRef ds:uri="7649d36d-b18d-4f08-9d96-dda1d5d9ff0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995</Words>
  <Application>Microsoft Office PowerPoint</Application>
  <PresentationFormat>와이드스크린</PresentationFormat>
  <Paragraphs>168</Paragraphs>
  <Slides>19</Slides>
  <Notes>7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9</vt:i4>
      </vt:variant>
    </vt:vector>
  </HeadingPairs>
  <TitlesOfParts>
    <vt:vector size="20" baseType="lpstr">
      <vt:lpstr>Deloitte Brand Theme</vt:lpstr>
      <vt:lpstr>Citizen Data Scientist – Part 1 | Class 5 EDA – Exploratory Data Analysis   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EDA - Hands On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Today’s Class…..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heading in  Calibri Light green that can be up to three lines of text</dc:title>
  <dc:creator/>
  <cp:lastModifiedBy/>
  <cp:revision>129</cp:revision>
  <dcterms:created xsi:type="dcterms:W3CDTF">2020-04-09T19:43:18Z</dcterms:created>
  <dcterms:modified xsi:type="dcterms:W3CDTF">2024-04-12T00:3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8:32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cd076e2-ba1e-4444-8923-d23acd12911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34678C4A89BABC4C8284D60851918205</vt:lpwstr>
  </property>
  <property fmtid="{D5CDD505-2E9C-101B-9397-08002B2CF9AE}" pid="10" name="MediaServiceImageTags">
    <vt:lpwstr/>
  </property>
</Properties>
</file>